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1.xml" ContentType="application/vnd.openxmlformats-officedocument.presentationml.notesSlide+xml"/>
  <Override PartName="/ppt/charts/chart201.xml" ContentType="application/vnd.openxmlformats-officedocument.drawingml.chart+xml"/>
  <Override PartName="/ppt/tags/tag259.xml" ContentType="application/vnd.openxmlformats-officedocument.presentationml.tags+xml"/>
  <Override PartName="/ppt/notesSlides/notesSlide2.xml" ContentType="application/vnd.openxmlformats-officedocument.presentationml.notesSlide+xml"/>
  <Override PartName="/ppt/charts/chart202.xml" ContentType="application/vnd.openxmlformats-officedocument.drawingml.chart+xml"/>
  <Override PartName="/ppt/tags/tag260.xml" ContentType="application/vnd.openxmlformats-officedocument.presentationml.tags+xml"/>
  <Override PartName="/ppt/notesSlides/notesSlide3.xml" ContentType="application/vnd.openxmlformats-officedocument.presentationml.notesSlide+xml"/>
  <Override PartName="/ppt/charts/chart203.xml" ContentType="application/vnd.openxmlformats-officedocument.drawingml.chart+xml"/>
  <Override PartName="/ppt/tags/tag261.xml" ContentType="application/vnd.openxmlformats-officedocument.presentationml.tags+xml"/>
  <Override PartName="/ppt/notesSlides/notesSlide4.xml" ContentType="application/vnd.openxmlformats-officedocument.presentationml.notesSlide+xml"/>
  <Override PartName="/ppt/charts/chart204.xml" ContentType="application/vnd.openxmlformats-officedocument.drawingml.chart+xml"/>
  <Override PartName="/ppt/tags/tag262.xml" ContentType="application/vnd.openxmlformats-officedocument.presentationml.tags+xml"/>
  <Override PartName="/ppt/notesSlides/notesSlide5.xml" ContentType="application/vnd.openxmlformats-officedocument.presentationml.notesSlide+xml"/>
  <Override PartName="/ppt/charts/chart205.xml" ContentType="application/vnd.openxmlformats-officedocument.drawingml.chart+xml"/>
  <Override PartName="/ppt/tags/tag263.xml" ContentType="application/vnd.openxmlformats-officedocument.presentationml.tags+xml"/>
  <Override PartName="/ppt/notesSlides/notesSlide6.xml" ContentType="application/vnd.openxmlformats-officedocument.presentationml.notesSlide+xml"/>
  <Override PartName="/ppt/charts/chart206.xml" ContentType="application/vnd.openxmlformats-officedocument.drawingml.chart+xml"/>
  <Override PartName="/ppt/tags/tag264.xml" ContentType="application/vnd.openxmlformats-officedocument.presentationml.tags+xml"/>
  <Override PartName="/ppt/notesSlides/notesSlide7.xml" ContentType="application/vnd.openxmlformats-officedocument.presentationml.notesSlide+xml"/>
  <Override PartName="/ppt/charts/chart207.xml" ContentType="application/vnd.openxmlformats-officedocument.drawingml.chart+xml"/>
  <Override PartName="/ppt/tags/tag265.xml" ContentType="application/vnd.openxmlformats-officedocument.presentationml.tags+xml"/>
  <Override PartName="/ppt/notesSlides/notesSlide8.xml" ContentType="application/vnd.openxmlformats-officedocument.presentationml.notesSlide+xml"/>
  <Override PartName="/ppt/charts/chart208.xml" ContentType="application/vnd.openxmlformats-officedocument.drawingml.chart+xml"/>
  <Override PartName="/ppt/tags/tag266.xml" ContentType="application/vnd.openxmlformats-officedocument.presentationml.tags+xml"/>
  <Override PartName="/ppt/notesSlides/notesSlide9.xml" ContentType="application/vnd.openxmlformats-officedocument.presentationml.notesSlide+xml"/>
  <Override PartName="/ppt/charts/chart209.xml" ContentType="application/vnd.openxmlformats-officedocument.drawingml.chart+xml"/>
  <Override PartName="/ppt/tags/tag267.xml" ContentType="application/vnd.openxmlformats-officedocument.presentationml.tags+xml"/>
  <Override PartName="/ppt/notesSlides/notesSlide10.xml" ContentType="application/vnd.openxmlformats-officedocument.presentationml.notesSlide+xml"/>
  <Override PartName="/ppt/charts/chart210.xml" ContentType="application/vnd.openxmlformats-officedocument.drawingml.chart+xml"/>
  <Override PartName="/ppt/tags/tag268.xml" ContentType="application/vnd.openxmlformats-officedocument.presentationml.tags+xml"/>
  <Override PartName="/ppt/notesSlides/notesSlide11.xml" ContentType="application/vnd.openxmlformats-officedocument.presentationml.notesSlide+xml"/>
  <Override PartName="/ppt/charts/chart211.xml" ContentType="application/vnd.openxmlformats-officedocument.drawingml.chart+xml"/>
  <Override PartName="/ppt/tags/tag269.xml" ContentType="application/vnd.openxmlformats-officedocument.presentationml.tags+xml"/>
  <Override PartName="/ppt/notesSlides/notesSlide12.xml" ContentType="application/vnd.openxmlformats-officedocument.presentationml.notesSlide+xml"/>
  <Override PartName="/ppt/charts/chart212.xml" ContentType="application/vnd.openxmlformats-officedocument.drawingml.chart+xml"/>
  <Override PartName="/ppt/tags/tag270.xml" ContentType="application/vnd.openxmlformats-officedocument.presentationml.tags+xml"/>
  <Override PartName="/ppt/notesSlides/notesSlide13.xml" ContentType="application/vnd.openxmlformats-officedocument.presentationml.notesSlide+xml"/>
  <Override PartName="/ppt/charts/chart213.xml" ContentType="application/vnd.openxmlformats-officedocument.drawingml.chart+xml"/>
  <Override PartName="/ppt/tags/tag271.xml" ContentType="application/vnd.openxmlformats-officedocument.presentationml.tags+xml"/>
  <Override PartName="/ppt/notesSlides/notesSlide14.xml" ContentType="application/vnd.openxmlformats-officedocument.presentationml.notesSlide+xml"/>
  <Override PartName="/ppt/charts/chart214.xml" ContentType="application/vnd.openxmlformats-officedocument.drawingml.chart+xml"/>
  <Override PartName="/ppt/tags/tag272.xml" ContentType="application/vnd.openxmlformats-officedocument.presentationml.tags+xml"/>
  <Override PartName="/ppt/notesSlides/notesSlide15.xml" ContentType="application/vnd.openxmlformats-officedocument.presentationml.notesSlide+xml"/>
  <Override PartName="/ppt/charts/chart215.xml" ContentType="application/vnd.openxmlformats-officedocument.drawingml.chart+xml"/>
  <Override PartName="/ppt/tags/tag273.xml" ContentType="application/vnd.openxmlformats-officedocument.presentationml.tags+xml"/>
  <Override PartName="/ppt/notesSlides/notesSlide16.xml" ContentType="application/vnd.openxmlformats-officedocument.presentationml.notesSlide+xml"/>
  <Override PartName="/ppt/charts/chart216.xml" ContentType="application/vnd.openxmlformats-officedocument.drawingml.chart+xml"/>
  <Override PartName="/ppt/tags/tag274.xml" ContentType="application/vnd.openxmlformats-officedocument.presentationml.tags+xml"/>
  <Override PartName="/ppt/notesSlides/notesSlide17.xml" ContentType="application/vnd.openxmlformats-officedocument.presentationml.notesSlide+xml"/>
  <Override PartName="/ppt/charts/chart217.xml" ContentType="application/vnd.openxmlformats-officedocument.drawingml.chart+xml"/>
  <Override PartName="/ppt/tags/tag275.xml" ContentType="application/vnd.openxmlformats-officedocument.presentationml.tags+xml"/>
  <Override PartName="/ppt/notesSlides/notesSlide18.xml" ContentType="application/vnd.openxmlformats-officedocument.presentationml.notesSlide+xml"/>
  <Override PartName="/ppt/charts/chart218.xml" ContentType="application/vnd.openxmlformats-officedocument.drawingml.chart+xml"/>
  <Override PartName="/ppt/tags/tag276.xml" ContentType="application/vnd.openxmlformats-officedocument.presentationml.tags+xml"/>
  <Override PartName="/ppt/notesSlides/notesSlide19.xml" ContentType="application/vnd.openxmlformats-officedocument.presentationml.notesSlide+xml"/>
  <Override PartName="/ppt/charts/chart219.xml" ContentType="application/vnd.openxmlformats-officedocument.drawingml.chart+xml"/>
  <Override PartName="/ppt/tags/tag277.xml" ContentType="application/vnd.openxmlformats-officedocument.presentationml.tags+xml"/>
  <Override PartName="/ppt/notesSlides/notesSlide20.xml" ContentType="application/vnd.openxmlformats-officedocument.presentationml.notesSlide+xml"/>
  <Override PartName="/ppt/charts/chart220.xml" ContentType="application/vnd.openxmlformats-officedocument.drawingml.chart+xml"/>
  <Override PartName="/ppt/tags/tag278.xml" ContentType="application/vnd.openxmlformats-officedocument.presentationml.tags+xml"/>
  <Override PartName="/ppt/notesSlides/notesSlide21.xml" ContentType="application/vnd.openxmlformats-officedocument.presentationml.notesSlide+xml"/>
  <Override PartName="/ppt/charts/chart221.xml" ContentType="application/vnd.openxmlformats-officedocument.drawingml.chart+xml"/>
  <Override PartName="/ppt/tags/tag279.xml" ContentType="application/vnd.openxmlformats-officedocument.presentationml.tags+xml"/>
  <Override PartName="/ppt/notesSlides/notesSlide22.xml" ContentType="application/vnd.openxmlformats-officedocument.presentationml.notesSlide+xml"/>
  <Override PartName="/ppt/charts/chart222.xml" ContentType="application/vnd.openxmlformats-officedocument.drawingml.chart+xml"/>
  <Override PartName="/ppt/tags/tag280.xml" ContentType="application/vnd.openxmlformats-officedocument.presentationml.tags+xml"/>
  <Override PartName="/ppt/notesSlides/notesSlide23.xml" ContentType="application/vnd.openxmlformats-officedocument.presentationml.notesSlide+xml"/>
  <Override PartName="/ppt/charts/chart223.xml" ContentType="application/vnd.openxmlformats-officedocument.drawingml.chart+xml"/>
  <Override PartName="/ppt/tags/tag281.xml" ContentType="application/vnd.openxmlformats-officedocument.presentationml.tags+xml"/>
  <Override PartName="/ppt/notesSlides/notesSlide24.xml" ContentType="application/vnd.openxmlformats-officedocument.presentationml.notesSlide+xml"/>
  <Override PartName="/ppt/charts/chart224.xml" ContentType="application/vnd.openxmlformats-officedocument.drawingml.chart+xml"/>
  <Override PartName="/ppt/tags/tag282.xml" ContentType="application/vnd.openxmlformats-officedocument.presentationml.tags+xml"/>
  <Override PartName="/ppt/notesSlides/notesSlide25.xml" ContentType="application/vnd.openxmlformats-officedocument.presentationml.notesSlide+xml"/>
  <Override PartName="/ppt/charts/chart225.xml" ContentType="application/vnd.openxmlformats-officedocument.drawingml.chart+xml"/>
  <Override PartName="/ppt/tags/tag283.xml" ContentType="application/vnd.openxmlformats-officedocument.presentationml.tags+xml"/>
  <Override PartName="/ppt/notesSlides/notesSlide26.xml" ContentType="application/vnd.openxmlformats-officedocument.presentationml.notesSlide+xml"/>
  <Override PartName="/ppt/charts/chart226.xml" ContentType="application/vnd.openxmlformats-officedocument.drawingml.chart+xml"/>
  <Override PartName="/ppt/tags/tag284.xml" ContentType="application/vnd.openxmlformats-officedocument.presentationml.tags+xml"/>
  <Override PartName="/ppt/notesSlides/notesSlide27.xml" ContentType="application/vnd.openxmlformats-officedocument.presentationml.notesSlide+xml"/>
  <Override PartName="/ppt/charts/chart227.xml" ContentType="application/vnd.openxmlformats-officedocument.drawingml.chart+xml"/>
  <Override PartName="/ppt/tags/tag285.xml" ContentType="application/vnd.openxmlformats-officedocument.presentationml.tags+xml"/>
  <Override PartName="/ppt/notesSlides/notesSlide28.xml" ContentType="application/vnd.openxmlformats-officedocument.presentationml.notesSlide+xml"/>
  <Override PartName="/ppt/charts/chart228.xml" ContentType="application/vnd.openxmlformats-officedocument.drawingml.chart+xml"/>
  <Override PartName="/ppt/tags/tag286.xml" ContentType="application/vnd.openxmlformats-officedocument.presentationml.tags+xml"/>
  <Override PartName="/ppt/notesSlides/notesSlide29.xml" ContentType="application/vnd.openxmlformats-officedocument.presentationml.notesSlide+xml"/>
  <Override PartName="/ppt/charts/chart229.xml" ContentType="application/vnd.openxmlformats-officedocument.drawingml.chart+xml"/>
  <Override PartName="/ppt/tags/tag287.xml" ContentType="application/vnd.openxmlformats-officedocument.presentationml.tags+xml"/>
  <Override PartName="/ppt/notesSlides/notesSlide30.xml" ContentType="application/vnd.openxmlformats-officedocument.presentationml.notesSlide+xml"/>
  <Override PartName="/ppt/charts/chart230.xml" ContentType="application/vnd.openxmlformats-officedocument.drawingml.chart+xml"/>
  <Override PartName="/ppt/tags/tag288.xml" ContentType="application/vnd.openxmlformats-officedocument.presentationml.tags+xml"/>
  <Override PartName="/ppt/notesSlides/notesSlide31.xml" ContentType="application/vnd.openxmlformats-officedocument.presentationml.notesSlide+xml"/>
  <Override PartName="/ppt/charts/chart231.xml" ContentType="application/vnd.openxmlformats-officedocument.drawingml.chart+xml"/>
  <Override PartName="/ppt/tags/tag289.xml" ContentType="application/vnd.openxmlformats-officedocument.presentationml.tags+xml"/>
  <Override PartName="/ppt/notesSlides/notesSlide32.xml" ContentType="application/vnd.openxmlformats-officedocument.presentationml.notesSlide+xml"/>
  <Override PartName="/ppt/charts/chart232.xml" ContentType="application/vnd.openxmlformats-officedocument.drawingml.chart+xml"/>
  <Override PartName="/ppt/tags/tag290.xml" ContentType="application/vnd.openxmlformats-officedocument.presentationml.tags+xml"/>
  <Override PartName="/ppt/notesSlides/notesSlide33.xml" ContentType="application/vnd.openxmlformats-officedocument.presentationml.notesSlide+xml"/>
  <Override PartName="/ppt/charts/chart233.xml" ContentType="application/vnd.openxmlformats-officedocument.drawingml.chart+xml"/>
  <Override PartName="/ppt/tags/tag291.xml" ContentType="application/vnd.openxmlformats-officedocument.presentationml.tags+xml"/>
  <Override PartName="/ppt/notesSlides/notesSlide34.xml" ContentType="application/vnd.openxmlformats-officedocument.presentationml.notesSlide+xml"/>
  <Override PartName="/ppt/charts/chart234.xml" ContentType="application/vnd.openxmlformats-officedocument.drawingml.chart+xml"/>
  <Override PartName="/ppt/tags/tag292.xml" ContentType="application/vnd.openxmlformats-officedocument.presentationml.tags+xml"/>
  <Override PartName="/ppt/notesSlides/notesSlide35.xml" ContentType="application/vnd.openxmlformats-officedocument.presentationml.notesSlide+xml"/>
  <Override PartName="/ppt/charts/chart235.xml" ContentType="application/vnd.openxmlformats-officedocument.drawingml.chart+xml"/>
  <Override PartName="/ppt/tags/tag293.xml" ContentType="application/vnd.openxmlformats-officedocument.presentationml.tags+xml"/>
  <Override PartName="/ppt/notesSlides/notesSlide36.xml" ContentType="application/vnd.openxmlformats-officedocument.presentationml.notesSlide+xml"/>
  <Override PartName="/ppt/charts/chart236.xml" ContentType="application/vnd.openxmlformats-officedocument.drawingml.chart+xml"/>
  <Override PartName="/ppt/tags/tag294.xml" ContentType="application/vnd.openxmlformats-officedocument.presentationml.tags+xml"/>
  <Override PartName="/ppt/notesSlides/notesSlide37.xml" ContentType="application/vnd.openxmlformats-officedocument.presentationml.notesSlide+xml"/>
  <Override PartName="/ppt/charts/chart237.xml" ContentType="application/vnd.openxmlformats-officedocument.drawingml.chart+xml"/>
  <Override PartName="/ppt/tags/tag295.xml" ContentType="application/vnd.openxmlformats-officedocument.presentationml.tags+xml"/>
  <Override PartName="/ppt/notesSlides/notesSlide38.xml" ContentType="application/vnd.openxmlformats-officedocument.presentationml.notesSlide+xml"/>
  <Override PartName="/ppt/charts/chart238.xml" ContentType="application/vnd.openxmlformats-officedocument.drawingml.chart+xml"/>
  <Override PartName="/ppt/tags/tag296.xml" ContentType="application/vnd.openxmlformats-officedocument.presentationml.tags+xml"/>
  <Override PartName="/ppt/notesSlides/notesSlide39.xml" ContentType="application/vnd.openxmlformats-officedocument.presentationml.notesSlide+xml"/>
  <Override PartName="/ppt/charts/chart239.xml" ContentType="application/vnd.openxmlformats-officedocument.drawingml.chart+xml"/>
  <Override PartName="/ppt/tags/tag297.xml" ContentType="application/vnd.openxmlformats-officedocument.presentationml.tags+xml"/>
  <Override PartName="/ppt/notesSlides/notesSlide40.xml" ContentType="application/vnd.openxmlformats-officedocument.presentationml.notesSlide+xml"/>
  <Override PartName="/ppt/charts/chart240.xml" ContentType="application/vnd.openxmlformats-officedocument.drawingml.chart+xml"/>
  <Override PartName="/ppt/tags/tag298.xml" ContentType="application/vnd.openxmlformats-officedocument.presentationml.tags+xml"/>
  <Override PartName="/ppt/notesSlides/notesSlide41.xml" ContentType="application/vnd.openxmlformats-officedocument.presentationml.notesSlide+xml"/>
  <Override PartName="/ppt/charts/chart241.xml" ContentType="application/vnd.openxmlformats-officedocument.drawingml.chart+xml"/>
  <Override PartName="/ppt/tags/tag299.xml" ContentType="application/vnd.openxmlformats-officedocument.presentationml.tags+xml"/>
  <Override PartName="/ppt/notesSlides/notesSlide42.xml" ContentType="application/vnd.openxmlformats-officedocument.presentationml.notesSlide+xml"/>
  <Override PartName="/ppt/charts/chart242.xml" ContentType="application/vnd.openxmlformats-officedocument.drawingml.chart+xml"/>
  <Override PartName="/ppt/tags/tag300.xml" ContentType="application/vnd.openxmlformats-officedocument.presentationml.tags+xml"/>
  <Override PartName="/ppt/notesSlides/notesSlide43.xml" ContentType="application/vnd.openxmlformats-officedocument.presentationml.notesSlide+xml"/>
  <Override PartName="/ppt/charts/chart243.xml" ContentType="application/vnd.openxmlformats-officedocument.drawingml.chart+xml"/>
  <Override PartName="/ppt/tags/tag301.xml" ContentType="application/vnd.openxmlformats-officedocument.presentationml.tags+xml"/>
  <Override PartName="/ppt/notesSlides/notesSlide44.xml" ContentType="application/vnd.openxmlformats-officedocument.presentationml.notesSlide+xml"/>
  <Override PartName="/ppt/charts/chart244.xml" ContentType="application/vnd.openxmlformats-officedocument.drawingml.chart+xml"/>
  <Override PartName="/ppt/tags/tag302.xml" ContentType="application/vnd.openxmlformats-officedocument.presentationml.tags+xml"/>
  <Override PartName="/ppt/notesSlides/notesSlide45.xml" ContentType="application/vnd.openxmlformats-officedocument.presentationml.notesSlide+xml"/>
  <Override PartName="/ppt/charts/chart245.xml" ContentType="application/vnd.openxmlformats-officedocument.drawingml.chart+xml"/>
  <Override PartName="/ppt/tags/tag303.xml" ContentType="application/vnd.openxmlformats-officedocument.presentationml.tags+xml"/>
  <Override PartName="/ppt/notesSlides/notesSlide46.xml" ContentType="application/vnd.openxmlformats-officedocument.presentationml.notesSlide+xml"/>
  <Override PartName="/ppt/charts/chart246.xml" ContentType="application/vnd.openxmlformats-officedocument.drawingml.chart+xml"/>
  <Override PartName="/ppt/tags/tag304.xml" ContentType="application/vnd.openxmlformats-officedocument.presentationml.tags+xml"/>
  <Override PartName="/ppt/notesSlides/notesSlide47.xml" ContentType="application/vnd.openxmlformats-officedocument.presentationml.notesSlide+xml"/>
  <Override PartName="/ppt/charts/chart247.xml" ContentType="application/vnd.openxmlformats-officedocument.drawingml.chart+xml"/>
  <Override PartName="/ppt/tags/tag305.xml" ContentType="application/vnd.openxmlformats-officedocument.presentationml.tags+xml"/>
  <Override PartName="/ppt/notesSlides/notesSlide48.xml" ContentType="application/vnd.openxmlformats-officedocument.presentationml.notesSlide+xml"/>
  <Override PartName="/ppt/charts/chart248.xml" ContentType="application/vnd.openxmlformats-officedocument.drawingml.chart+xml"/>
  <Override PartName="/ppt/tags/tag306.xml" ContentType="application/vnd.openxmlformats-officedocument.presentationml.tags+xml"/>
  <Override PartName="/ppt/notesSlides/notesSlide49.xml" ContentType="application/vnd.openxmlformats-officedocument.presentationml.notesSlide+xml"/>
  <Override PartName="/ppt/charts/chart249.xml" ContentType="application/vnd.openxmlformats-officedocument.drawingml.chart+xml"/>
  <Override PartName="/ppt/tags/tag307.xml" ContentType="application/vnd.openxmlformats-officedocument.presentationml.tags+xml"/>
  <Override PartName="/ppt/notesSlides/notesSlide50.xml" ContentType="application/vnd.openxmlformats-officedocument.presentationml.notesSlide+xml"/>
  <Override PartName="/ppt/charts/chart250.xml" ContentType="application/vnd.openxmlformats-officedocument.drawingml.chart+xml"/>
  <Override PartName="/ppt/tags/tag308.xml" ContentType="application/vnd.openxmlformats-officedocument.presentationml.tags+xml"/>
  <Override PartName="/ppt/notesSlides/notesSlide51.xml" ContentType="application/vnd.openxmlformats-officedocument.presentationml.notesSlide+xml"/>
  <Override PartName="/ppt/charts/chart251.xml" ContentType="application/vnd.openxmlformats-officedocument.drawingml.chart+xml"/>
  <Override PartName="/ppt/tags/tag309.xml" ContentType="application/vnd.openxmlformats-officedocument.presentationml.tags+xml"/>
  <Override PartName="/ppt/charts/chart252.xml" ContentType="application/vnd.openxmlformats-officedocument.drawingml.chart+xml"/>
  <Override PartName="/ppt/tags/tag310.xml" ContentType="application/vnd.openxmlformats-officedocument.presentationml.tags+xml"/>
  <Override PartName="/ppt/charts/chart253.xml" ContentType="application/vnd.openxmlformats-officedocument.drawingml.chart+xml"/>
  <Override PartName="/ppt/tags/tag311.xml" ContentType="application/vnd.openxmlformats-officedocument.presentationml.tags+xml"/>
  <Override PartName="/ppt/charts/chart254.xml" ContentType="application/vnd.openxmlformats-officedocument.drawingml.chart+xml"/>
  <Override PartName="/ppt/tags/tag312.xml" ContentType="application/vnd.openxmlformats-officedocument.presentationml.tags+xml"/>
  <Override PartName="/ppt/charts/chart255.xml" ContentType="application/vnd.openxmlformats-officedocument.drawingml.chart+xml"/>
  <Override PartName="/ppt/tags/tag313.xml" ContentType="application/vnd.openxmlformats-officedocument.presentationml.tags+xml"/>
  <Override PartName="/ppt/charts/chart256.xml" ContentType="application/vnd.openxmlformats-officedocument.drawingml.chart+xml"/>
  <Override PartName="/ppt/tags/tag314.xml" ContentType="application/vnd.openxmlformats-officedocument.presentationml.tags+xml"/>
  <Override PartName="/ppt/charts/chart257.xml" ContentType="application/vnd.openxmlformats-officedocument.drawingml.chart+xml"/>
  <Override PartName="/ppt/tags/tag315.xml" ContentType="application/vnd.openxmlformats-officedocument.presentationml.tags+xml"/>
  <Override PartName="/ppt/charts/chart258.xml" ContentType="application/vnd.openxmlformats-officedocument.drawingml.chart+xml"/>
  <Override PartName="/ppt/tags/tag316.xml" ContentType="application/vnd.openxmlformats-officedocument.presentationml.tags+xml"/>
  <Override PartName="/ppt/charts/chart259.xml" ContentType="application/vnd.openxmlformats-officedocument.drawingml.chart+xml"/>
  <Override PartName="/ppt/tags/tag317.xml" ContentType="application/vnd.openxmlformats-officedocument.presentationml.tags+xml"/>
  <Override PartName="/ppt/charts/chart260.xml" ContentType="application/vnd.openxmlformats-officedocument.drawingml.chart+xml"/>
  <Override PartName="/ppt/tags/tag318.xml" ContentType="application/vnd.openxmlformats-officedocument.presentationml.tags+xml"/>
  <Override PartName="/ppt/charts/chart261.xml" ContentType="application/vnd.openxmlformats-officedocument.drawingml.chart+xml"/>
  <Override PartName="/ppt/tags/tag319.xml" ContentType="application/vnd.openxmlformats-officedocument.presentationml.tags+xml"/>
  <Override PartName="/ppt/charts/chart262.xml" ContentType="application/vnd.openxmlformats-officedocument.drawingml.chart+xml"/>
  <Override PartName="/ppt/tags/tag320.xml" ContentType="application/vnd.openxmlformats-officedocument.presentationml.tags+xml"/>
  <Override PartName="/ppt/charts/chart263.xml" ContentType="application/vnd.openxmlformats-officedocument.drawingml.chart+xml"/>
  <Override PartName="/ppt/tags/tag321.xml" ContentType="application/vnd.openxmlformats-officedocument.presentationml.tags+xml"/>
  <Override PartName="/ppt/charts/chart264.xml" ContentType="application/vnd.openxmlformats-officedocument.drawingml.chart+xml"/>
  <Override PartName="/ppt/tags/tag322.xml" ContentType="application/vnd.openxmlformats-officedocument.presentationml.tags+xml"/>
  <Override PartName="/ppt/charts/chart265.xml" ContentType="application/vnd.openxmlformats-officedocument.drawingml.chart+xml"/>
  <Override PartName="/ppt/tags/tag323.xml" ContentType="application/vnd.openxmlformats-officedocument.presentationml.tags+xml"/>
  <Override PartName="/ppt/charts/chart266.xml" ContentType="application/vnd.openxmlformats-officedocument.drawingml.chart+xml"/>
  <Override PartName="/ppt/tags/tag324.xml" ContentType="application/vnd.openxmlformats-officedocument.presentationml.tags+xml"/>
  <Override PartName="/ppt/charts/chart267.xml" ContentType="application/vnd.openxmlformats-officedocument.drawingml.chart+xml"/>
  <Override PartName="/ppt/tags/tag325.xml" ContentType="application/vnd.openxmlformats-officedocument.presentationml.tags+xml"/>
  <Override PartName="/ppt/charts/chart268.xml" ContentType="application/vnd.openxmlformats-officedocument.drawingml.chart+xml"/>
  <Override PartName="/ppt/tags/tag326.xml" ContentType="application/vnd.openxmlformats-officedocument.presentationml.tags+xml"/>
  <Override PartName="/ppt/charts/chart269.xml" ContentType="application/vnd.openxmlformats-officedocument.drawingml.chart+xml"/>
  <Override PartName="/ppt/tags/tag327.xml" ContentType="application/vnd.openxmlformats-officedocument.presentationml.tags+xml"/>
  <Override PartName="/ppt/charts/chart270.xml" ContentType="application/vnd.openxmlformats-officedocument.drawingml.chart+xml"/>
  <Override PartName="/ppt/tags/tag328.xml" ContentType="application/vnd.openxmlformats-officedocument.presentationml.tags+xml"/>
  <Override PartName="/ppt/charts/chart271.xml" ContentType="application/vnd.openxmlformats-officedocument.drawingml.chart+xml"/>
  <Override PartName="/ppt/tags/tag329.xml" ContentType="application/vnd.openxmlformats-officedocument.presentationml.tags+xml"/>
  <Override PartName="/ppt/charts/chart272.xml" ContentType="application/vnd.openxmlformats-officedocument.drawingml.chart+xml"/>
  <Override PartName="/ppt/tags/tag330.xml" ContentType="application/vnd.openxmlformats-officedocument.presentationml.tags+xml"/>
  <Override PartName="/ppt/charts/chart273.xml" ContentType="application/vnd.openxmlformats-officedocument.drawingml.chart+xml"/>
  <Override PartName="/ppt/tags/tag331.xml" ContentType="application/vnd.openxmlformats-officedocument.presentationml.tags+xml"/>
  <Override PartName="/ppt/charts/chart274.xml" ContentType="application/vnd.openxmlformats-officedocument.drawingml.chart+xml"/>
  <Override PartName="/ppt/tags/tag332.xml" ContentType="application/vnd.openxmlformats-officedocument.presentationml.tags+xml"/>
  <Override PartName="/ppt/charts/chart275.xml" ContentType="application/vnd.openxmlformats-officedocument.drawingml.chart+xml"/>
  <Override PartName="/ppt/tags/tag333.xml" ContentType="application/vnd.openxmlformats-officedocument.presentationml.tags+xml"/>
  <Override PartName="/ppt/charts/chart276.xml" ContentType="application/vnd.openxmlformats-officedocument.drawingml.chart+xml"/>
  <Override PartName="/ppt/tags/tag334.xml" ContentType="application/vnd.openxmlformats-officedocument.presentationml.tags+xml"/>
  <Override PartName="/ppt/charts/chart277.xml" ContentType="application/vnd.openxmlformats-officedocument.drawingml.chart+xml"/>
  <Override PartName="/ppt/tags/tag335.xml" ContentType="application/vnd.openxmlformats-officedocument.presentationml.tags+xml"/>
  <Override PartName="/ppt/charts/chart278.xml" ContentType="application/vnd.openxmlformats-officedocument.drawingml.chart+xml"/>
  <Override PartName="/ppt/tags/tag336.xml" ContentType="application/vnd.openxmlformats-officedocument.presentationml.tags+xml"/>
  <Override PartName="/ppt/charts/chart279.xml" ContentType="application/vnd.openxmlformats-officedocument.drawingml.chart+xml"/>
  <Override PartName="/ppt/tags/tag337.xml" ContentType="application/vnd.openxmlformats-officedocument.presentationml.tags+xml"/>
  <Override PartName="/ppt/charts/chart280.xml" ContentType="application/vnd.openxmlformats-officedocument.drawingml.chart+xml"/>
  <Override PartName="/ppt/tags/tag338.xml" ContentType="application/vnd.openxmlformats-officedocument.presentationml.tags+xml"/>
  <Override PartName="/ppt/charts/chart281.xml" ContentType="application/vnd.openxmlformats-officedocument.drawingml.chart+xml"/>
  <Override PartName="/ppt/tags/tag339.xml" ContentType="application/vnd.openxmlformats-officedocument.presentationml.tags+xml"/>
  <Override PartName="/ppt/charts/chart282.xml" ContentType="application/vnd.openxmlformats-officedocument.drawingml.chart+xml"/>
  <Override PartName="/ppt/tags/tag340.xml" ContentType="application/vnd.openxmlformats-officedocument.presentationml.tags+xml"/>
  <Override PartName="/ppt/charts/chart283.xml" ContentType="application/vnd.openxmlformats-officedocument.drawingml.chart+xml"/>
  <Override PartName="/ppt/tags/tag341.xml" ContentType="application/vnd.openxmlformats-officedocument.presentationml.tags+xml"/>
  <Override PartName="/ppt/charts/chart284.xml" ContentType="application/vnd.openxmlformats-officedocument.drawingml.chart+xml"/>
  <Override PartName="/ppt/tags/tag342.xml" ContentType="application/vnd.openxmlformats-officedocument.presentationml.tags+xml"/>
  <Override PartName="/ppt/charts/chart285.xml" ContentType="application/vnd.openxmlformats-officedocument.drawingml.chart+xml"/>
  <Override PartName="/ppt/tags/tag343.xml" ContentType="application/vnd.openxmlformats-officedocument.presentationml.tags+xml"/>
  <Override PartName="/ppt/charts/chart286.xml" ContentType="application/vnd.openxmlformats-officedocument.drawingml.chart+xml"/>
  <Override PartName="/ppt/tags/tag344.xml" ContentType="application/vnd.openxmlformats-officedocument.presentationml.tags+xml"/>
  <Override PartName="/ppt/charts/chart287.xml" ContentType="application/vnd.openxmlformats-officedocument.drawingml.chart+xml"/>
  <Override PartName="/ppt/tags/tag345.xml" ContentType="application/vnd.openxmlformats-officedocument.presentationml.tags+xml"/>
  <Override PartName="/ppt/charts/chart288.xml" ContentType="application/vnd.openxmlformats-officedocument.drawingml.chart+xml"/>
  <Override PartName="/ppt/tags/tag346.xml" ContentType="application/vnd.openxmlformats-officedocument.presentationml.tags+xml"/>
  <Override PartName="/ppt/charts/chart289.xml" ContentType="application/vnd.openxmlformats-officedocument.drawingml.chart+xml"/>
  <Override PartName="/ppt/tags/tag347.xml" ContentType="application/vnd.openxmlformats-officedocument.presentationml.tags+xml"/>
  <Override PartName="/ppt/charts/chart290.xml" ContentType="application/vnd.openxmlformats-officedocument.drawingml.chart+xml"/>
  <Override PartName="/ppt/tags/tag348.xml" ContentType="application/vnd.openxmlformats-officedocument.presentationml.tags+xml"/>
  <Override PartName="/ppt/charts/chart291.xml" ContentType="application/vnd.openxmlformats-officedocument.drawingml.chart+xml"/>
  <Override PartName="/ppt/tags/tag349.xml" ContentType="application/vnd.openxmlformats-officedocument.presentationml.tags+xml"/>
  <Override PartName="/ppt/charts/chart292.xml" ContentType="application/vnd.openxmlformats-officedocument.drawingml.chart+xml"/>
  <Override PartName="/ppt/tags/tag350.xml" ContentType="application/vnd.openxmlformats-officedocument.presentationml.tags+xml"/>
  <Override PartName="/ppt/charts/chart293.xml" ContentType="application/vnd.openxmlformats-officedocument.drawingml.chart+xml"/>
  <Override PartName="/ppt/tags/tag351.xml" ContentType="application/vnd.openxmlformats-officedocument.presentationml.tags+xml"/>
  <Override PartName="/ppt/charts/chart294.xml" ContentType="application/vnd.openxmlformats-officedocument.drawingml.chart+xml"/>
  <Override PartName="/ppt/tags/tag352.xml" ContentType="application/vnd.openxmlformats-officedocument.presentationml.tags+xml"/>
  <Override PartName="/ppt/charts/chart295.xml" ContentType="application/vnd.openxmlformats-officedocument.drawingml.chart+xml"/>
  <Override PartName="/ppt/tags/tag353.xml" ContentType="application/vnd.openxmlformats-officedocument.presentationml.tags+xml"/>
  <Override PartName="/ppt/charts/chart296.xml" ContentType="application/vnd.openxmlformats-officedocument.drawingml.chart+xml"/>
  <Override PartName="/ppt/tags/tag354.xml" ContentType="application/vnd.openxmlformats-officedocument.presentationml.tags+xml"/>
  <Override PartName="/ppt/charts/chart297.xml" ContentType="application/vnd.openxmlformats-officedocument.drawingml.chart+xml"/>
  <Override PartName="/ppt/tags/tag355.xml" ContentType="application/vnd.openxmlformats-officedocument.presentationml.tags+xml"/>
  <Override PartName="/ppt/charts/chart298.xml" ContentType="application/vnd.openxmlformats-officedocument.drawingml.chart+xml"/>
  <Override PartName="/ppt/tags/tag356.xml" ContentType="application/vnd.openxmlformats-officedocument.presentationml.tags+xml"/>
  <Override PartName="/ppt/charts/chart299.xml" ContentType="application/vnd.openxmlformats-officedocument.drawingml.chart+xml"/>
  <Override PartName="/ppt/tags/tag357.xml" ContentType="application/vnd.openxmlformats-officedocument.presentationml.tags+xml"/>
  <Override PartName="/ppt/charts/chart300.xml" ContentType="application/vnd.openxmlformats-officedocument.drawingml.chart+xml"/>
  <Override PartName="/ppt/tags/tag358.xml" ContentType="application/vnd.openxmlformats-officedocument.presentationml.tags+xml"/>
  <Override PartName="/ppt/charts/chart301.xml" ContentType="application/vnd.openxmlformats-officedocument.drawingml.chart+xml"/>
  <Override PartName="/ppt/tags/tag359.xml" ContentType="application/vnd.openxmlformats-officedocument.presentationml.tags+xml"/>
  <Override PartName="/ppt/charts/chart302.xml" ContentType="application/vnd.openxmlformats-officedocument.drawingml.chart+xml"/>
  <Override PartName="/ppt/tags/tag360.xml" ContentType="application/vnd.openxmlformats-officedocument.presentationml.tags+xml"/>
  <Override PartName="/ppt/notesSlides/notesSlide52.xml" ContentType="application/vnd.openxmlformats-officedocument.presentationml.notesSlide+xml"/>
  <Override PartName="/ppt/tags/tag361.xml" ContentType="application/vnd.openxmlformats-officedocument.presentationml.tags+xml"/>
  <Override PartName="/ppt/notesSlides/notesSlide53.xml" ContentType="application/vnd.openxmlformats-officedocument.presentationml.notesSlide+xml"/>
  <Override PartName="/ppt/tags/tag362.xml" ContentType="application/vnd.openxmlformats-officedocument.presentationml.tags+xml"/>
  <Override PartName="/ppt/notesSlides/notesSlide54.xml" ContentType="application/vnd.openxmlformats-officedocument.presentationml.notesSlide+xml"/>
  <Override PartName="/ppt/tags/tag363.xml" ContentType="application/vnd.openxmlformats-officedocument.presentationml.tags+xml"/>
  <Override PartName="/ppt/notesSlides/notesSlide55.xml" ContentType="application/vnd.openxmlformats-officedocument.presentationml.notesSlide+xml"/>
  <Override PartName="/ppt/tags/tag364.xml" ContentType="application/vnd.openxmlformats-officedocument.presentationml.tags+xml"/>
  <Override PartName="/ppt/notesSlides/notesSlide56.xml" ContentType="application/vnd.openxmlformats-officedocument.presentationml.notesSlide+xml"/>
  <Override PartName="/ppt/tags/tag365.xml" ContentType="application/vnd.openxmlformats-officedocument.presentationml.tags+xml"/>
  <Override PartName="/ppt/notesSlides/notesSlide57.xml" ContentType="application/vnd.openxmlformats-officedocument.presentationml.notesSlide+xml"/>
  <Override PartName="/ppt/tags/tag366.xml" ContentType="application/vnd.openxmlformats-officedocument.presentationml.tags+xml"/>
  <Override PartName="/ppt/notesSlides/notesSlide58.xml" ContentType="application/vnd.openxmlformats-officedocument.presentationml.notesSlide+xml"/>
  <Override PartName="/ppt/tags/tag367.xml" ContentType="application/vnd.openxmlformats-officedocument.presentationml.tags+xml"/>
  <Override PartName="/ppt/notesSlides/notesSlide59.xml" ContentType="application/vnd.openxmlformats-officedocument.presentationml.notesSlide+xml"/>
  <Override PartName="/ppt/tags/tag368.xml" ContentType="application/vnd.openxmlformats-officedocument.presentationml.tags+xml"/>
  <Override PartName="/ppt/notesSlides/notesSlide60.xml" ContentType="application/vnd.openxmlformats-officedocument.presentationml.notesSlide+xml"/>
  <Override PartName="/ppt/tags/tag369.xml" ContentType="application/vnd.openxmlformats-officedocument.presentationml.tags+xml"/>
  <Override PartName="/ppt/notesSlides/notesSlide61.xml" ContentType="application/vnd.openxmlformats-officedocument.presentationml.notesSlide+xml"/>
  <Override PartName="/ppt/tags/tag370.xml" ContentType="application/vnd.openxmlformats-officedocument.presentationml.tags+xml"/>
  <Override PartName="/ppt/notesSlides/notesSlide62.xml" ContentType="application/vnd.openxmlformats-officedocument.presentationml.notesSlide+xml"/>
  <Override PartName="/ppt/tags/tag371.xml" ContentType="application/vnd.openxmlformats-officedocument.presentationml.tags+xml"/>
  <Override PartName="/ppt/notesSlides/notesSlide63.xml" ContentType="application/vnd.openxmlformats-officedocument.presentationml.notesSlide+xml"/>
  <Override PartName="/ppt/tags/tag372.xml" ContentType="application/vnd.openxmlformats-officedocument.presentationml.tags+xml"/>
  <Override PartName="/ppt/notesSlides/notesSlide64.xml" ContentType="application/vnd.openxmlformats-officedocument.presentationml.notesSlide+xml"/>
  <Override PartName="/ppt/tags/tag373.xml" ContentType="application/vnd.openxmlformats-officedocument.presentationml.tags+xml"/>
  <Override PartName="/ppt/notesSlides/notesSlide65.xml" ContentType="application/vnd.openxmlformats-officedocument.presentationml.notesSlide+xml"/>
  <Override PartName="/ppt/tags/tag374.xml" ContentType="application/vnd.openxmlformats-officedocument.presentationml.tags+xml"/>
  <Override PartName="/ppt/notesSlides/notesSlide66.xml" ContentType="application/vnd.openxmlformats-officedocument.presentationml.notesSlide+xml"/>
  <Override PartName="/ppt/tags/tag375.xml" ContentType="application/vnd.openxmlformats-officedocument.presentationml.tags+xml"/>
  <Override PartName="/ppt/notesSlides/notesSlide67.xml" ContentType="application/vnd.openxmlformats-officedocument.presentationml.notesSlide+xml"/>
  <Override PartName="/ppt/tags/tag376.xml" ContentType="application/vnd.openxmlformats-officedocument.presentationml.tags+xml"/>
  <Override PartName="/ppt/notesSlides/notesSlide68.xml" ContentType="application/vnd.openxmlformats-officedocument.presentationml.notesSlide+xml"/>
  <Override PartName="/ppt/tags/tag377.xml" ContentType="application/vnd.openxmlformats-officedocument.presentationml.tags+xml"/>
  <Override PartName="/ppt/notesSlides/notesSlide69.xml" ContentType="application/vnd.openxmlformats-officedocument.presentationml.notesSlide+xml"/>
  <Override PartName="/ppt/tags/tag378.xml" ContentType="application/vnd.openxmlformats-officedocument.presentationml.tags+xml"/>
  <Override PartName="/ppt/charts/chart303.xml" ContentType="application/vnd.openxmlformats-officedocument.drawingml.chart+xml"/>
  <Override PartName="/ppt/tags/tag379.xml" ContentType="application/vnd.openxmlformats-officedocument.presentationml.tags+xml"/>
  <Override PartName="/ppt/charts/chart304.xml" ContentType="application/vnd.openxmlformats-officedocument.drawingml.chart+xml"/>
  <Override PartName="/ppt/tags/tag380.xml" ContentType="application/vnd.openxmlformats-officedocument.presentationml.tags+xml"/>
  <Override PartName="/ppt/charts/chart305.xml" ContentType="application/vnd.openxmlformats-officedocument.drawingml.chart+xml"/>
  <Override PartName="/ppt/tags/tag381.xml" ContentType="application/vnd.openxmlformats-officedocument.presentationml.tags+xml"/>
  <Override PartName="/ppt/charts/chart306.xml" ContentType="application/vnd.openxmlformats-officedocument.drawingml.chart+xml"/>
  <Override PartName="/ppt/tags/tag382.xml" ContentType="application/vnd.openxmlformats-officedocument.presentationml.tags+xml"/>
  <Override PartName="/ppt/charts/chart307.xml" ContentType="application/vnd.openxmlformats-officedocument.drawingml.chart+xml"/>
  <Override PartName="/ppt/tags/tag383.xml" ContentType="application/vnd.openxmlformats-officedocument.presentationml.tags+xml"/>
  <Override PartName="/ppt/charts/chart308.xml" ContentType="application/vnd.openxmlformats-officedocument.drawingml.chart+xml"/>
  <Override PartName="/ppt/tags/tag384.xml" ContentType="application/vnd.openxmlformats-officedocument.presentationml.tags+xml"/>
  <Override PartName="/ppt/charts/chart309.xml" ContentType="application/vnd.openxmlformats-officedocument.drawingml.chart+xml"/>
  <Override PartName="/ppt/tags/tag385.xml" ContentType="application/vnd.openxmlformats-officedocument.presentationml.tags+xml"/>
  <Override PartName="/ppt/charts/chart310.xml" ContentType="application/vnd.openxmlformats-officedocument.drawingml.chart+xml"/>
  <Override PartName="/ppt/tags/tag386.xml" ContentType="application/vnd.openxmlformats-officedocument.presentationml.tags+xml"/>
  <Override PartName="/ppt/charts/chart311.xml" ContentType="application/vnd.openxmlformats-officedocument.drawingml.chart+xml"/>
  <Override PartName="/ppt/tags/tag387.xml" ContentType="application/vnd.openxmlformats-officedocument.presentationml.tags+xml"/>
  <Override PartName="/ppt/charts/chart312.xml" ContentType="application/vnd.openxmlformats-officedocument.drawingml.chart+xml"/>
  <Override PartName="/ppt/tags/tag388.xml" ContentType="application/vnd.openxmlformats-officedocument.presentationml.tags+xml"/>
  <Override PartName="/ppt/charts/chart313.xml" ContentType="application/vnd.openxmlformats-officedocument.drawingml.chart+xml"/>
  <Override PartName="/ppt/tags/tag389.xml" ContentType="application/vnd.openxmlformats-officedocument.presentationml.tags+xml"/>
  <Override PartName="/ppt/charts/chart314.xml" ContentType="application/vnd.openxmlformats-officedocument.drawingml.chart+xml"/>
  <Override PartName="/ppt/tags/tag390.xml" ContentType="application/vnd.openxmlformats-officedocument.presentationml.tags+xml"/>
  <Override PartName="/ppt/charts/chart315.xml" ContentType="application/vnd.openxmlformats-officedocument.drawingml.chart+xml"/>
  <Override PartName="/ppt/tags/tag391.xml" ContentType="application/vnd.openxmlformats-officedocument.presentationml.tags+xml"/>
  <Override PartName="/ppt/charts/chart316.xml" ContentType="application/vnd.openxmlformats-officedocument.drawingml.chart+xml"/>
  <Override PartName="/ppt/tags/tag392.xml" ContentType="application/vnd.openxmlformats-officedocument.presentationml.tags+xml"/>
  <Override PartName="/ppt/charts/chart317.xml" ContentType="application/vnd.openxmlformats-officedocument.drawingml.chart+xml"/>
  <Override PartName="/ppt/tags/tag393.xml" ContentType="application/vnd.openxmlformats-officedocument.presentationml.tags+xml"/>
  <Override PartName="/ppt/charts/chart318.xml" ContentType="application/vnd.openxmlformats-officedocument.drawingml.chart+xml"/>
  <Override PartName="/ppt/tags/tag394.xml" ContentType="application/vnd.openxmlformats-officedocument.presentationml.tags+xml"/>
  <Override PartName="/ppt/charts/chart319.xml" ContentType="application/vnd.openxmlformats-officedocument.drawingml.chart+xml"/>
  <Override PartName="/ppt/tags/tag395.xml" ContentType="application/vnd.openxmlformats-officedocument.presentationml.tags+xml"/>
  <Override PartName="/ppt/charts/chart320.xml" ContentType="application/vnd.openxmlformats-officedocument.drawingml.chart+xml"/>
  <Override PartName="/ppt/tags/tag396.xml" ContentType="application/vnd.openxmlformats-officedocument.presentationml.tags+xml"/>
  <Override PartName="/ppt/charts/chart321.xml" ContentType="application/vnd.openxmlformats-officedocument.drawingml.chart+xml"/>
  <Override PartName="/ppt/tags/tag397.xml" ContentType="application/vnd.openxmlformats-officedocument.presentationml.tags+xml"/>
  <Override PartName="/ppt/charts/chart322.xml" ContentType="application/vnd.openxmlformats-officedocument.drawingml.chart+xml"/>
  <Override PartName="/ppt/tags/tag398.xml" ContentType="application/vnd.openxmlformats-officedocument.presentationml.tags+xml"/>
  <Override PartName="/ppt/charts/chart323.xml" ContentType="application/vnd.openxmlformats-officedocument.drawingml.chart+xml"/>
  <Override PartName="/ppt/tags/tag399.xml" ContentType="application/vnd.openxmlformats-officedocument.presentationml.tags+xml"/>
  <Override PartName="/ppt/charts/chart324.xml" ContentType="application/vnd.openxmlformats-officedocument.drawingml.chart+xml"/>
  <Override PartName="/ppt/tags/tag400.xml" ContentType="application/vnd.openxmlformats-officedocument.presentationml.tags+xml"/>
  <Override PartName="/ppt/charts/chart325.xml" ContentType="application/vnd.openxmlformats-officedocument.drawingml.chart+xml"/>
  <Override PartName="/ppt/tags/tag401.xml" ContentType="application/vnd.openxmlformats-officedocument.presentationml.tags+xml"/>
  <Override PartName="/ppt/charts/chart326.xml" ContentType="application/vnd.openxmlformats-officedocument.drawingml.chart+xml"/>
  <Override PartName="/ppt/tags/tag402.xml" ContentType="application/vnd.openxmlformats-officedocument.presentationml.tags+xml"/>
  <Override PartName="/ppt/charts/chart327.xml" ContentType="application/vnd.openxmlformats-officedocument.drawingml.chart+xml"/>
  <Override PartName="/ppt/tags/tag403.xml" ContentType="application/vnd.openxmlformats-officedocument.presentationml.tags+xml"/>
  <Override PartName="/ppt/charts/chart328.xml" ContentType="application/vnd.openxmlformats-officedocument.drawingml.chart+xml"/>
  <Override PartName="/ppt/tags/tag404.xml" ContentType="application/vnd.openxmlformats-officedocument.presentationml.tags+xml"/>
  <Override PartName="/ppt/charts/chart329.xml" ContentType="application/vnd.openxmlformats-officedocument.drawingml.chart+xml"/>
  <Override PartName="/ppt/tags/tag405.xml" ContentType="application/vnd.openxmlformats-officedocument.presentationml.tags+xml"/>
  <Override PartName="/ppt/charts/chart330.xml" ContentType="application/vnd.openxmlformats-officedocument.drawingml.chart+xml"/>
  <Override PartName="/ppt/tags/tag406.xml" ContentType="application/vnd.openxmlformats-officedocument.presentationml.tags+xml"/>
  <Override PartName="/ppt/charts/chart331.xml" ContentType="application/vnd.openxmlformats-officedocument.drawingml.chart+xml"/>
  <Override PartName="/ppt/tags/tag407.xml" ContentType="application/vnd.openxmlformats-officedocument.presentationml.tags+xml"/>
  <Override PartName="/ppt/charts/chart33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385"/>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C81763C6-B33E-4F64-97C6-CD33B64F3278}">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 name="SKU Share by Manuf" id="{539130F6-9F4F-43EF-942A-5A38A46351DF}">
          <p14:sldIdLst>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Lst>
        </p14:section>
        <p14:section name="Cumulative Product Shares" id="{11678EBD-F1A4-4E43-89FF-6BECA76BC5CB}">
          <p14:sldIdLst>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Lst>
        </p14:section>
        <p14:section name="Top 50% cumulative share" id="{BF583723-8F18-47A5-ADC0-FB81C089BDE1}">
          <p14:sldIdLst>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Lst>
        </p14:section>
        <p14:section name="Brand Cumulative Product Share" id="{0EEC9325-FA19-4A3B-9B15-EFC5A2CFCC3C}">
          <p14:sldIdLst>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Lst>
        </p14:section>
        <p14:section name="Top 20 cumulative share" id="{7A218332-B922-4064-920A-01CBA58E6ABE}">
          <p14:sldIdLst>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Lst>
        </p14:section>
        <p14:section name="SKU Productivity Analysis with TM%" id="{D90EAF0D-3966-483B-91CF-317BD243F7DD}">
          <p14:sldIdLst>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Lst>
        </p14:section>
        <p14:section name="SKU Productivity Analysis with WD" id="{55727CBF-35A0-48E6-A12B-8F90CE0E3999}">
          <p14:sldIdLst>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Lst>
        </p14:section>
        <p14:section name="Sectors Fair Share" id="{2266B58C-49CA-4763-9E4F-EF5E2AF95006}">
          <p14:sldIdLst>
            <p14:sldId id="2147475501"/>
            <p14:sldId id="2147475502"/>
            <p14:sldId id="2147475503"/>
            <p14:sldId id="2147475504"/>
            <p14:sldId id="2147475505"/>
            <p14:sldId id="2147475506"/>
            <p14:sldId id="2147475507"/>
            <p14:sldId id="2147475508"/>
            <p14:sldId id="2147475509"/>
          </p14:sldIdLst>
        </p14:section>
        <p14:section name="Segments Fair Share" id="{9F2562DB-A630-46D0-89FE-B52517DEEBBA}">
          <p14:sldIdLst>
            <p14:sldId id="2147475510"/>
            <p14:sldId id="2147475511"/>
            <p14:sldId id="2147475512"/>
            <p14:sldId id="2147475513"/>
            <p14:sldId id="2147475514"/>
            <p14:sldId id="2147475515"/>
            <p14:sldId id="2147475516"/>
            <p14:sldId id="2147475517"/>
            <p14:sldId id="2147475518"/>
          </p14:sldIdLst>
        </p14:section>
        <p14:section name="SKU Share By Brand no client prio" id="{4E49EA04-F425-4964-A592-B86667857E23}">
          <p14:sldIdLst>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60" d="100"/>
          <a:sy n="60" d="100"/>
        </p:scale>
        <p:origin x="72" y="270"/>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366" Type="http://schemas.openxmlformats.org/officeDocument/2006/relationships/slide" Target="slides/slide362.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335" Type="http://schemas.openxmlformats.org/officeDocument/2006/relationships/slide" Target="slides/slide331.xml"/><Relationship Id="rId377" Type="http://schemas.openxmlformats.org/officeDocument/2006/relationships/slide" Target="slides/slide373.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346" Type="http://schemas.openxmlformats.org/officeDocument/2006/relationships/slide" Target="slides/slide342.xml"/><Relationship Id="rId388" Type="http://schemas.openxmlformats.org/officeDocument/2006/relationships/theme" Target="theme/theme1.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357" Type="http://schemas.openxmlformats.org/officeDocument/2006/relationships/slide" Target="slides/slide353.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slide" Target="slides/slide322.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172" Type="http://schemas.openxmlformats.org/officeDocument/2006/relationships/slide" Target="slides/slide168.xml"/><Relationship Id="rId228" Type="http://schemas.openxmlformats.org/officeDocument/2006/relationships/slide" Target="slides/slide224.xml"/><Relationship Id="rId281" Type="http://schemas.openxmlformats.org/officeDocument/2006/relationships/slide" Target="slides/slide277.xml"/><Relationship Id="rId337" Type="http://schemas.openxmlformats.org/officeDocument/2006/relationships/slide" Target="slides/slide333.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390" Type="http://schemas.microsoft.com/office/2015/10/relationships/revisionInfo" Target="revisionInfo.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261" Type="http://schemas.openxmlformats.org/officeDocument/2006/relationships/slide" Target="slides/slide257.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230" Type="http://schemas.openxmlformats.org/officeDocument/2006/relationships/slide" Target="slides/slide226.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9" Type="http://schemas.openxmlformats.org/officeDocument/2006/relationships/slide" Target="slides/slide5.xml"/><Relationship Id="rId210" Type="http://schemas.openxmlformats.org/officeDocument/2006/relationships/slide" Target="slides/slide206.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196" Type="http://schemas.openxmlformats.org/officeDocument/2006/relationships/slide" Target="slides/slide192.xml"/><Relationship Id="rId200" Type="http://schemas.openxmlformats.org/officeDocument/2006/relationships/slide" Target="slides/slide196.xml"/><Relationship Id="rId382" Type="http://schemas.openxmlformats.org/officeDocument/2006/relationships/slide" Target="slides/slide378.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19" Type="http://schemas.openxmlformats.org/officeDocument/2006/relationships/slide" Target="slides/slide315.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330" Type="http://schemas.openxmlformats.org/officeDocument/2006/relationships/slide" Target="slides/slide326.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351" Type="http://schemas.openxmlformats.org/officeDocument/2006/relationships/slide" Target="slides/slide347.xml"/><Relationship Id="rId372" Type="http://schemas.openxmlformats.org/officeDocument/2006/relationships/slide" Target="slides/slide368.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309" Type="http://schemas.openxmlformats.org/officeDocument/2006/relationships/slide" Target="slides/slide305.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320" Type="http://schemas.openxmlformats.org/officeDocument/2006/relationships/slide" Target="slides/slide316.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341" Type="http://schemas.openxmlformats.org/officeDocument/2006/relationships/slide" Target="slides/slide337.xml"/><Relationship Id="rId362" Type="http://schemas.openxmlformats.org/officeDocument/2006/relationships/slide" Target="slides/slide358.xml"/><Relationship Id="rId383" Type="http://schemas.openxmlformats.org/officeDocument/2006/relationships/slide" Target="slides/slide379.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310" Type="http://schemas.openxmlformats.org/officeDocument/2006/relationships/slide" Target="slides/slide306.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331" Type="http://schemas.openxmlformats.org/officeDocument/2006/relationships/slide" Target="slides/slide327.xml"/><Relationship Id="rId352" Type="http://schemas.openxmlformats.org/officeDocument/2006/relationships/slide" Target="slides/slide348.xml"/><Relationship Id="rId373" Type="http://schemas.openxmlformats.org/officeDocument/2006/relationships/slide" Target="slides/slide369.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slide" Target="slides/slide296.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321" Type="http://schemas.openxmlformats.org/officeDocument/2006/relationships/slide" Target="slides/slide317.xml"/><Relationship Id="rId342" Type="http://schemas.openxmlformats.org/officeDocument/2006/relationships/slide" Target="slides/slide338.xml"/><Relationship Id="rId363" Type="http://schemas.openxmlformats.org/officeDocument/2006/relationships/slide" Target="slides/slide359.xml"/><Relationship Id="rId384" Type="http://schemas.openxmlformats.org/officeDocument/2006/relationships/slide" Target="slides/slide380.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311" Type="http://schemas.openxmlformats.org/officeDocument/2006/relationships/slide" Target="slides/slide307.xml"/><Relationship Id="rId332" Type="http://schemas.openxmlformats.org/officeDocument/2006/relationships/slide" Target="slides/slide328.xml"/><Relationship Id="rId353" Type="http://schemas.openxmlformats.org/officeDocument/2006/relationships/slide" Target="slides/slide349.xml"/><Relationship Id="rId374" Type="http://schemas.openxmlformats.org/officeDocument/2006/relationships/slide" Target="slides/slide370.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322" Type="http://schemas.openxmlformats.org/officeDocument/2006/relationships/slide" Target="slides/slide318.xml"/><Relationship Id="rId343" Type="http://schemas.openxmlformats.org/officeDocument/2006/relationships/slide" Target="slides/slide339.xml"/><Relationship Id="rId364" Type="http://schemas.openxmlformats.org/officeDocument/2006/relationships/slide" Target="slides/slide360.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385" Type="http://schemas.openxmlformats.org/officeDocument/2006/relationships/notesMaster" Target="notesMasters/notesMaster1.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slide" Target="slides/slide308.xml"/><Relationship Id="rId333" Type="http://schemas.openxmlformats.org/officeDocument/2006/relationships/slide" Target="slides/slide329.xml"/><Relationship Id="rId354" Type="http://schemas.openxmlformats.org/officeDocument/2006/relationships/slide" Target="slides/slide350.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75" Type="http://schemas.openxmlformats.org/officeDocument/2006/relationships/slide" Target="slides/slide371.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323" Type="http://schemas.openxmlformats.org/officeDocument/2006/relationships/slide" Target="slides/slide319.xml"/><Relationship Id="rId344" Type="http://schemas.openxmlformats.org/officeDocument/2006/relationships/slide" Target="slides/slide340.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365" Type="http://schemas.openxmlformats.org/officeDocument/2006/relationships/slide" Target="slides/slide361.xml"/><Relationship Id="rId386" Type="http://schemas.openxmlformats.org/officeDocument/2006/relationships/presProps" Target="presProps.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334" Type="http://schemas.openxmlformats.org/officeDocument/2006/relationships/slide" Target="slides/slide330.xml"/><Relationship Id="rId355" Type="http://schemas.openxmlformats.org/officeDocument/2006/relationships/slide" Target="slides/slide351.xml"/><Relationship Id="rId376" Type="http://schemas.openxmlformats.org/officeDocument/2006/relationships/slide" Target="slides/slide372.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viewProps" Target="viewProps.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6" Type="http://schemas.openxmlformats.org/officeDocument/2006/relationships/slide" Target="slides/slide2.xml"/><Relationship Id="rId238" Type="http://schemas.openxmlformats.org/officeDocument/2006/relationships/slide" Target="slides/slide234.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tableStyles" Target="tableStyles.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162" Type="http://schemas.openxmlformats.org/officeDocument/2006/relationships/slide" Target="slides/slide158.xml"/><Relationship Id="rId218" Type="http://schemas.openxmlformats.org/officeDocument/2006/relationships/slide" Target="slides/slide214.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240" Type="http://schemas.openxmlformats.org/officeDocument/2006/relationships/slide" Target="slides/slide236.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251" Type="http://schemas.openxmlformats.org/officeDocument/2006/relationships/slide" Target="slides/slide247.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220" Type="http://schemas.openxmlformats.org/officeDocument/2006/relationships/slide" Target="slides/slide216.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B$2:$B$11</c:f>
              <c:numCache>
                <c:formatCode>General</c:formatCode>
                <c:ptCount val="10"/>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pt idx="8">
                  <c:v>2.7052476556671296E-4</c:v>
                </c:pt>
                <c:pt idx="9">
                  <c:v>5.744541844533383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C$2:$C$11</c:f>
              <c:numCache>
                <c:formatCode>General</c:formatCode>
                <c:ptCount val="10"/>
                <c:pt idx="0">
                  <c:v>0.45487835909236735</c:v>
                </c:pt>
                <c:pt idx="1">
                  <c:v>8.7931053557401911E-2</c:v>
                </c:pt>
                <c:pt idx="2">
                  <c:v>0.18810917257630907</c:v>
                </c:pt>
                <c:pt idx="3">
                  <c:v>9.5498346037681564E-2</c:v>
                </c:pt>
                <c:pt idx="4">
                  <c:v>0.1058867782584164</c:v>
                </c:pt>
                <c:pt idx="5">
                  <c:v>3.2581398178981959E-2</c:v>
                </c:pt>
                <c:pt idx="6">
                  <c:v>1.637367378773966E-2</c:v>
                </c:pt>
                <c:pt idx="7">
                  <c:v>1.6738762460033852E-2</c:v>
                </c:pt>
                <c:pt idx="8">
                  <c:v>2.0024560510681611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D$2:$D$11</c:f>
              <c:numCache>
                <c:formatCode>General</c:formatCode>
                <c:ptCount val="10"/>
                <c:pt idx="0">
                  <c:v>0.80532655491381089</c:v>
                </c:pt>
                <c:pt idx="1">
                  <c:v>0.62086002073316693</c:v>
                </c:pt>
                <c:pt idx="2">
                  <c:v>1.7824113537163599</c:v>
                </c:pt>
                <c:pt idx="3">
                  <c:v>1.351550105429288</c:v>
                </c:pt>
                <c:pt idx="4">
                  <c:v>1.5457923049666866</c:v>
                </c:pt>
                <c:pt idx="5">
                  <c:v>1.2542257026400674</c:v>
                </c:pt>
                <c:pt idx="6">
                  <c:v>1.3665663878822933</c:v>
                </c:pt>
                <c:pt idx="7">
                  <c:v>1.5783679071585079</c:v>
                </c:pt>
                <c:pt idx="8">
                  <c:v>7.4021173140037115</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Comfort 3</c:v>
                </c:pt>
                <c:pt idx="7">
                  <c:v>Van Der Hagen</c:v>
                </c:pt>
                <c:pt idx="8">
                  <c:v>Cremo</c:v>
                </c:pt>
                <c:pt idx="9">
                  <c:v>Others</c:v>
                </c:pt>
              </c:strCache>
            </c:strRef>
          </c:cat>
          <c:val>
            <c:numRef>
              <c:f>Sheet1!$B$2:$B$11</c:f>
              <c:numCache>
                <c:formatCode>General</c:formatCode>
                <c:ptCount val="10"/>
                <c:pt idx="0">
                  <c:v>0.6182635657766159</c:v>
                </c:pt>
                <c:pt idx="1">
                  <c:v>0.18722367556157865</c:v>
                </c:pt>
                <c:pt idx="2">
                  <c:v>5.8906404971494332E-2</c:v>
                </c:pt>
                <c:pt idx="3">
                  <c:v>3.8609099767900716E-2</c:v>
                </c:pt>
                <c:pt idx="4">
                  <c:v>3.3453458305565988E-2</c:v>
                </c:pt>
                <c:pt idx="5">
                  <c:v>2.9502036126015829E-2</c:v>
                </c:pt>
                <c:pt idx="6">
                  <c:v>1.7170217377920939E-2</c:v>
                </c:pt>
                <c:pt idx="7">
                  <c:v>1.6700167215949389E-2</c:v>
                </c:pt>
                <c:pt idx="8">
                  <c:v>1.6968693627681167E-4</c:v>
                </c:pt>
                <c:pt idx="9">
                  <c:v>1.687960681394092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Comfort 3</c:v>
                </c:pt>
                <c:pt idx="7">
                  <c:v>Van Der Hagen</c:v>
                </c:pt>
                <c:pt idx="8">
                  <c:v>Cremo</c:v>
                </c:pt>
                <c:pt idx="9">
                  <c:v>Others</c:v>
                </c:pt>
              </c:strCache>
            </c:strRef>
          </c:cat>
          <c:val>
            <c:numRef>
              <c:f>Sheet1!$C$2:$C$11</c:f>
              <c:numCache>
                <c:formatCode>General</c:formatCode>
                <c:ptCount val="10"/>
                <c:pt idx="0">
                  <c:v>0.505338904363974</c:v>
                </c:pt>
                <c:pt idx="1">
                  <c:v>0.14159702878365829</c:v>
                </c:pt>
                <c:pt idx="2">
                  <c:v>0.10863509749303621</c:v>
                </c:pt>
                <c:pt idx="3">
                  <c:v>4.828226555246054E-2</c:v>
                </c:pt>
                <c:pt idx="4">
                  <c:v>6.4531104921077068E-2</c:v>
                </c:pt>
                <c:pt idx="5">
                  <c:v>6.3602599814298985E-2</c:v>
                </c:pt>
                <c:pt idx="6">
                  <c:v>3.4818941504178275E-2</c:v>
                </c:pt>
                <c:pt idx="7">
                  <c:v>3.1104921077065927E-2</c:v>
                </c:pt>
                <c:pt idx="8">
                  <c:v>2.0891364902506965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Comfort 3</c:v>
                </c:pt>
                <c:pt idx="7">
                  <c:v>Van Der Hagen</c:v>
                </c:pt>
                <c:pt idx="8">
                  <c:v>Cremo</c:v>
                </c:pt>
                <c:pt idx="9">
                  <c:v>Others</c:v>
                </c:pt>
              </c:strCache>
            </c:strRef>
          </c:cat>
          <c:val>
            <c:numRef>
              <c:f>Sheet1!$D$2:$D$11</c:f>
              <c:numCache>
                <c:formatCode>General</c:formatCode>
                <c:ptCount val="10"/>
                <c:pt idx="0">
                  <c:v>0.81735190675388658</c:v>
                </c:pt>
                <c:pt idx="1">
                  <c:v>0.75629873390177316</c:v>
                </c:pt>
                <c:pt idx="2">
                  <c:v>1.8441983948198217</c:v>
                </c:pt>
                <c:pt idx="3">
                  <c:v>1.2505410859799952</c:v>
                </c:pt>
                <c:pt idx="4">
                  <c:v>1.9289815818635523</c:v>
                </c:pt>
                <c:pt idx="5">
                  <c:v>2.1558715318029251</c:v>
                </c:pt>
                <c:pt idx="6">
                  <c:v>2.0278684152800364</c:v>
                </c:pt>
                <c:pt idx="7">
                  <c:v>1.862551474775616</c:v>
                </c:pt>
                <c:pt idx="8">
                  <c:v>12.311710825179089</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c:f>
              <c:strCache>
                <c:ptCount val="11"/>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strCache>
            </c:strRef>
          </c:cat>
          <c:val>
            <c:numRef>
              <c:f>Sheet1!$B$2:$B$12</c:f>
              <c:numCache>
                <c:formatCode>General</c:formatCode>
                <c:ptCount val="11"/>
                <c:pt idx="0">
                  <c:v>0.99</c:v>
                </c:pt>
                <c:pt idx="1">
                  <c:v>0.99</c:v>
                </c:pt>
                <c:pt idx="2">
                  <c:v>0.99</c:v>
                </c:pt>
                <c:pt idx="3">
                  <c:v>0.88</c:v>
                </c:pt>
                <c:pt idx="4">
                  <c:v>0.93</c:v>
                </c:pt>
                <c:pt idx="5">
                  <c:v>0.9</c:v>
                </c:pt>
                <c:pt idx="6">
                  <c:v>0.87</c:v>
                </c:pt>
                <c:pt idx="7">
                  <c:v>0.52</c:v>
                </c:pt>
                <c:pt idx="8">
                  <c:v>0.95</c:v>
                </c:pt>
                <c:pt idx="9">
                  <c:v>0.79</c:v>
                </c:pt>
                <c:pt idx="10">
                  <c:v>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c:f>
              <c:strCache>
                <c:ptCount val="11"/>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strCache>
            </c:strRef>
          </c:cat>
          <c:val>
            <c:numRef>
              <c:f>Sheet1!$C$2:$C$12</c:f>
              <c:numCache>
                <c:formatCode>General</c:formatCode>
                <c:ptCount val="11"/>
                <c:pt idx="0">
                  <c:v>8.646662988475308E-2</c:v>
                </c:pt>
                <c:pt idx="1">
                  <c:v>0.15268420210872241</c:v>
                </c:pt>
                <c:pt idx="2">
                  <c:v>0.2057540141463296</c:v>
                </c:pt>
                <c:pt idx="3">
                  <c:v>0.25606316648951677</c:v>
                </c:pt>
                <c:pt idx="4">
                  <c:v>0.30479130921559483</c:v>
                </c:pt>
                <c:pt idx="5">
                  <c:v>0.34455844378652534</c:v>
                </c:pt>
                <c:pt idx="6">
                  <c:v>0.3822268336891258</c:v>
                </c:pt>
                <c:pt idx="7">
                  <c:v>0.41957244799920634</c:v>
                </c:pt>
                <c:pt idx="8">
                  <c:v>0.45644876235206261</c:v>
                </c:pt>
                <c:pt idx="9">
                  <c:v>0.48444818525706074</c:v>
                </c:pt>
                <c:pt idx="10">
                  <c:v>0.508047235329054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2</c:f>
              <c:strCache>
                <c:ptCount val="11"/>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strCache>
            </c:strRef>
          </c:cat>
          <c:val>
            <c:numRef>
              <c:f>Sheet1!$D$2:$D$12</c:f>
              <c:numCache>
                <c:formatCode>General</c:formatCode>
                <c:ptCount val="11"/>
                <c:pt idx="0">
                  <c:v>18627.454545454544</c:v>
                </c:pt>
                <c:pt idx="1">
                  <c:v>14265.212121212122</c:v>
                </c:pt>
                <c:pt idx="2">
                  <c:v>11432.797979797981</c:v>
                </c:pt>
                <c:pt idx="3">
                  <c:v>12192.829545454546</c:v>
                </c:pt>
                <c:pt idx="4">
                  <c:v>11174.731182795698</c:v>
                </c:pt>
                <c:pt idx="5">
                  <c:v>9423.7111111111117</c:v>
                </c:pt>
                <c:pt idx="6">
                  <c:v>9234.1724137931033</c:v>
                </c:pt>
                <c:pt idx="7">
                  <c:v>15317.096153846154</c:v>
                </c:pt>
                <c:pt idx="8">
                  <c:v>8278.7368421052633</c:v>
                </c:pt>
                <c:pt idx="9">
                  <c:v>7558.9620253164558</c:v>
                </c:pt>
                <c:pt idx="10">
                  <c:v>5592.322222222222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c:f>
              <c:strCache>
                <c:ptCount val="10"/>
                <c:pt idx="0">
                  <c:v>Gillette</c:v>
                </c:pt>
                <c:pt idx="1">
                  <c:v>Harry's</c:v>
                </c:pt>
                <c:pt idx="2">
                  <c:v>Gillette</c:v>
                </c:pt>
                <c:pt idx="3">
                  <c:v>Gillette</c:v>
                </c:pt>
                <c:pt idx="4">
                  <c:v>Gillette</c:v>
                </c:pt>
                <c:pt idx="5">
                  <c:v>Gillette</c:v>
                </c:pt>
                <c:pt idx="6">
                  <c:v>Harry's</c:v>
                </c:pt>
                <c:pt idx="7">
                  <c:v>Gillette</c:v>
                </c:pt>
                <c:pt idx="8">
                  <c:v>Gillette</c:v>
                </c:pt>
                <c:pt idx="9">
                  <c:v>Gillette</c:v>
                </c:pt>
              </c:strCache>
            </c:strRef>
          </c:cat>
          <c:val>
            <c:numRef>
              <c:f>Sheet1!$B$2:$B$11</c:f>
              <c:numCache>
                <c:formatCode>General</c:formatCode>
                <c:ptCount val="10"/>
                <c:pt idx="0">
                  <c:v>0.93</c:v>
                </c:pt>
                <c:pt idx="1">
                  <c:v>0.95</c:v>
                </c:pt>
                <c:pt idx="2">
                  <c:v>0.91</c:v>
                </c:pt>
                <c:pt idx="3">
                  <c:v>0.76</c:v>
                </c:pt>
                <c:pt idx="4">
                  <c:v>0.55000000000000004</c:v>
                </c:pt>
                <c:pt idx="5">
                  <c:v>0.79</c:v>
                </c:pt>
                <c:pt idx="6">
                  <c:v>0.66</c:v>
                </c:pt>
                <c:pt idx="7">
                  <c:v>0.56999999999999995</c:v>
                </c:pt>
                <c:pt idx="8">
                  <c:v>0.57999999999999996</c:v>
                </c:pt>
                <c:pt idx="9">
                  <c:v>0.28000000000000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c:f>
              <c:strCache>
                <c:ptCount val="10"/>
                <c:pt idx="0">
                  <c:v>Gillette</c:v>
                </c:pt>
                <c:pt idx="1">
                  <c:v>Harry's</c:v>
                </c:pt>
                <c:pt idx="2">
                  <c:v>Gillette</c:v>
                </c:pt>
                <c:pt idx="3">
                  <c:v>Gillette</c:v>
                </c:pt>
                <c:pt idx="4">
                  <c:v>Gillette</c:v>
                </c:pt>
                <c:pt idx="5">
                  <c:v>Gillette</c:v>
                </c:pt>
                <c:pt idx="6">
                  <c:v>Harry's</c:v>
                </c:pt>
                <c:pt idx="7">
                  <c:v>Gillette</c:v>
                </c:pt>
                <c:pt idx="8">
                  <c:v>Gillette</c:v>
                </c:pt>
                <c:pt idx="9">
                  <c:v>Gillette</c:v>
                </c:pt>
              </c:strCache>
            </c:strRef>
          </c:cat>
          <c:val>
            <c:numRef>
              <c:f>Sheet1!$C$2:$C$11</c:f>
              <c:numCache>
                <c:formatCode>General</c:formatCode>
                <c:ptCount val="10"/>
                <c:pt idx="0">
                  <c:v>9.7870616263198429E-2</c:v>
                </c:pt>
                <c:pt idx="1">
                  <c:v>0.18419395078953005</c:v>
                </c:pt>
                <c:pt idx="2">
                  <c:v>0.24884344568792582</c:v>
                </c:pt>
                <c:pt idx="3">
                  <c:v>0.2988711273455536</c:v>
                </c:pt>
                <c:pt idx="4">
                  <c:v>0.34819258396336095</c:v>
                </c:pt>
                <c:pt idx="5">
                  <c:v>0.39222515376203421</c:v>
                </c:pt>
                <c:pt idx="6">
                  <c:v>0.43422905519736715</c:v>
                </c:pt>
                <c:pt idx="7">
                  <c:v>0.46729959401811438</c:v>
                </c:pt>
                <c:pt idx="8">
                  <c:v>0.49765610114608211</c:v>
                </c:pt>
                <c:pt idx="9">
                  <c:v>0.5268228997990184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Gillette</c:v>
                </c:pt>
                <c:pt idx="1">
                  <c:v>Harry's</c:v>
                </c:pt>
                <c:pt idx="2">
                  <c:v>Gillette</c:v>
                </c:pt>
                <c:pt idx="3">
                  <c:v>Gillette</c:v>
                </c:pt>
                <c:pt idx="4">
                  <c:v>Gillette</c:v>
                </c:pt>
                <c:pt idx="5">
                  <c:v>Gillette</c:v>
                </c:pt>
                <c:pt idx="6">
                  <c:v>Harry's</c:v>
                </c:pt>
                <c:pt idx="7">
                  <c:v>Gillette</c:v>
                </c:pt>
                <c:pt idx="8">
                  <c:v>Gillette</c:v>
                </c:pt>
                <c:pt idx="9">
                  <c:v>Gillette</c:v>
                </c:pt>
              </c:strCache>
            </c:strRef>
          </c:cat>
          <c:val>
            <c:numRef>
              <c:f>Sheet1!$D$2:$D$11</c:f>
              <c:numCache>
                <c:formatCode>General</c:formatCode>
                <c:ptCount val="10"/>
                <c:pt idx="0">
                  <c:v>17807.139784946237</c:v>
                </c:pt>
                <c:pt idx="1">
                  <c:v>15375.505263157895</c:v>
                </c:pt>
                <c:pt idx="2">
                  <c:v>12021.219780219781</c:v>
                </c:pt>
                <c:pt idx="3">
                  <c:v>11138.368421052632</c:v>
                </c:pt>
                <c:pt idx="4">
                  <c:v>15173.927272727271</c:v>
                </c:pt>
                <c:pt idx="5">
                  <c:v>9431.3037974683539</c:v>
                </c:pt>
                <c:pt idx="6">
                  <c:v>10768.878787878788</c:v>
                </c:pt>
                <c:pt idx="7">
                  <c:v>9817.2807017543873</c:v>
                </c:pt>
                <c:pt idx="8">
                  <c:v>8856.2241379310362</c:v>
                </c:pt>
                <c:pt idx="9">
                  <c:v>17626.071428571428</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strCache>
            </c:strRef>
          </c:cat>
          <c:val>
            <c:numRef>
              <c:f>Sheet1!$B$2:$B$13</c:f>
              <c:numCache>
                <c:formatCode>General</c:formatCode>
                <c:ptCount val="12"/>
                <c:pt idx="0">
                  <c:v>0.99</c:v>
                </c:pt>
                <c:pt idx="1">
                  <c:v>0.99</c:v>
                </c:pt>
                <c:pt idx="2">
                  <c:v>0.99</c:v>
                </c:pt>
                <c:pt idx="3">
                  <c:v>0.94</c:v>
                </c:pt>
                <c:pt idx="4">
                  <c:v>0.94</c:v>
                </c:pt>
                <c:pt idx="5">
                  <c:v>0.88</c:v>
                </c:pt>
                <c:pt idx="6">
                  <c:v>0.65</c:v>
                </c:pt>
                <c:pt idx="7">
                  <c:v>0.96</c:v>
                </c:pt>
                <c:pt idx="8">
                  <c:v>0.84</c:v>
                </c:pt>
                <c:pt idx="9">
                  <c:v>0.86</c:v>
                </c:pt>
                <c:pt idx="10">
                  <c:v>0.89</c:v>
                </c:pt>
                <c:pt idx="11">
                  <c:v>0.8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strCache>
            </c:strRef>
          </c:cat>
          <c:val>
            <c:numRef>
              <c:f>Sheet1!$C$2:$C$13</c:f>
              <c:numCache>
                <c:formatCode>General</c:formatCode>
                <c:ptCount val="12"/>
                <c:pt idx="0">
                  <c:v>8.1329146854941553E-2</c:v>
                </c:pt>
                <c:pt idx="1">
                  <c:v>0.16013863596254391</c:v>
                </c:pt>
                <c:pt idx="2">
                  <c:v>0.21319131460999152</c:v>
                </c:pt>
                <c:pt idx="3">
                  <c:v>0.25340672163864714</c:v>
                </c:pt>
                <c:pt idx="4">
                  <c:v>0.29344865258063962</c:v>
                </c:pt>
                <c:pt idx="5">
                  <c:v>0.33184453857395479</c:v>
                </c:pt>
                <c:pt idx="6">
                  <c:v>0.3669724400168744</c:v>
                </c:pt>
                <c:pt idx="7">
                  <c:v>0.39898034038981878</c:v>
                </c:pt>
                <c:pt idx="8">
                  <c:v>0.42703109395747452</c:v>
                </c:pt>
                <c:pt idx="9">
                  <c:v>0.4528126896589898</c:v>
                </c:pt>
                <c:pt idx="10">
                  <c:v>0.47676633088753906</c:v>
                </c:pt>
                <c:pt idx="11">
                  <c:v>0.500571064940748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3</c:f>
              <c:strCache>
                <c:ptCount val="12"/>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strCache>
            </c:strRef>
          </c:cat>
          <c:val>
            <c:numRef>
              <c:f>Sheet1!$D$2:$D$13</c:f>
              <c:numCache>
                <c:formatCode>General</c:formatCode>
                <c:ptCount val="12"/>
                <c:pt idx="0">
                  <c:v>239240.52525252526</c:v>
                </c:pt>
                <c:pt idx="1">
                  <c:v>231828.61616161617</c:v>
                </c:pt>
                <c:pt idx="2">
                  <c:v>156061.52525252526</c:v>
                </c:pt>
                <c:pt idx="3">
                  <c:v>124591.47872340426</c:v>
                </c:pt>
                <c:pt idx="4">
                  <c:v>124054.03191489361</c:v>
                </c:pt>
                <c:pt idx="5">
                  <c:v>127064.94318181818</c:v>
                </c:pt>
                <c:pt idx="6">
                  <c:v>157384.72307692308</c:v>
                </c:pt>
                <c:pt idx="7">
                  <c:v>97097.864583333328</c:v>
                </c:pt>
                <c:pt idx="8">
                  <c:v>97249.857142857145</c:v>
                </c:pt>
                <c:pt idx="9">
                  <c:v>87304.186046511633</c:v>
                </c:pt>
                <c:pt idx="10">
                  <c:v>78380</c:v>
                </c:pt>
                <c:pt idx="11">
                  <c:v>85585.86419753087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c:f>
              <c:strCache>
                <c:ptCount val="13"/>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strCache>
            </c:strRef>
          </c:cat>
          <c:val>
            <c:numRef>
              <c:f>Sheet1!$B$2:$B$14</c:f>
              <c:numCache>
                <c:formatCode>General</c:formatCode>
                <c:ptCount val="13"/>
                <c:pt idx="0">
                  <c:v>0.91</c:v>
                </c:pt>
                <c:pt idx="1">
                  <c:v>0.97499999999999998</c:v>
                </c:pt>
                <c:pt idx="2">
                  <c:v>0.98499999999999999</c:v>
                </c:pt>
                <c:pt idx="3">
                  <c:v>0.94199999999999995</c:v>
                </c:pt>
                <c:pt idx="4">
                  <c:v>0.85199999999999998</c:v>
                </c:pt>
                <c:pt idx="5">
                  <c:v>0.96299999999999997</c:v>
                </c:pt>
                <c:pt idx="6">
                  <c:v>0.95</c:v>
                </c:pt>
                <c:pt idx="7">
                  <c:v>0.98699999999999999</c:v>
                </c:pt>
                <c:pt idx="8">
                  <c:v>0.80400000000000005</c:v>
                </c:pt>
                <c:pt idx="9">
                  <c:v>0.66500000000000004</c:v>
                </c:pt>
                <c:pt idx="10">
                  <c:v>0.93899999999999995</c:v>
                </c:pt>
                <c:pt idx="11">
                  <c:v>0.85699999999999998</c:v>
                </c:pt>
                <c:pt idx="12">
                  <c:v>0.79300000000000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FFBFBF"/>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FFBFBF"/>
              </a:solidFill>
            </c:spPr>
            <c:extLst>
              <c:ext xmlns:c16="http://schemas.microsoft.com/office/drawing/2014/chart" uri="{C3380CC4-5D6E-409C-BE32-E72D297353CC}">
                <c16:uniqueId val="{0000004D-2993-41DE-A2CB-63102DE87051}"/>
              </c:ext>
            </c:extLst>
          </c:dPt>
          <c:dPt>
            <c:idx val="11"/>
            <c:invertIfNegative val="1"/>
            <c:bubble3D val="0"/>
            <c:spPr>
              <a:solidFill>
                <a:srgbClr val="FFBFBF"/>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c:f>
              <c:strCache>
                <c:ptCount val="13"/>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strCache>
            </c:strRef>
          </c:cat>
          <c:val>
            <c:numRef>
              <c:f>Sheet1!$C$2:$C$14</c:f>
              <c:numCache>
                <c:formatCode>General</c:formatCode>
                <c:ptCount val="13"/>
                <c:pt idx="0">
                  <c:v>6.7910148356552555E-2</c:v>
                </c:pt>
                <c:pt idx="1">
                  <c:v>0.12219436758468043</c:v>
                </c:pt>
                <c:pt idx="2">
                  <c:v>0.17629512021373683</c:v>
                </c:pt>
                <c:pt idx="3">
                  <c:v>0.22306920056492457</c:v>
                </c:pt>
                <c:pt idx="4">
                  <c:v>0.26617974697618846</c:v>
                </c:pt>
                <c:pt idx="5">
                  <c:v>0.30406581293863993</c:v>
                </c:pt>
                <c:pt idx="6">
                  <c:v>0.33997815881473592</c:v>
                </c:pt>
                <c:pt idx="7">
                  <c:v>0.37516253523654641</c:v>
                </c:pt>
                <c:pt idx="8">
                  <c:v>0.40864299830300349</c:v>
                </c:pt>
                <c:pt idx="9">
                  <c:v>0.44106545478286069</c:v>
                </c:pt>
                <c:pt idx="10">
                  <c:v>0.4715835142419123</c:v>
                </c:pt>
                <c:pt idx="11">
                  <c:v>0.49878162007985644</c:v>
                </c:pt>
                <c:pt idx="12">
                  <c:v>0.52408150399663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4</c:f>
              <c:strCache>
                <c:ptCount val="13"/>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strCache>
            </c:strRef>
          </c:cat>
          <c:val>
            <c:numRef>
              <c:f>Sheet1!$D$2:$D$14</c:f>
              <c:numCache>
                <c:formatCode>General</c:formatCode>
                <c:ptCount val="13"/>
                <c:pt idx="0">
                  <c:v>120729.89010989011</c:v>
                </c:pt>
                <c:pt idx="1">
                  <c:v>90072.143589743588</c:v>
                </c:pt>
                <c:pt idx="2">
                  <c:v>88856.375634517768</c:v>
                </c:pt>
                <c:pt idx="3">
                  <c:v>80329.649681528666</c:v>
                </c:pt>
                <c:pt idx="4">
                  <c:v>81858.814553990611</c:v>
                </c:pt>
                <c:pt idx="5">
                  <c:v>63646.531671858778</c:v>
                </c:pt>
                <c:pt idx="6">
                  <c:v>61156.368421052633</c:v>
                </c:pt>
                <c:pt idx="7">
                  <c:v>57670.567375886523</c:v>
                </c:pt>
                <c:pt idx="8">
                  <c:v>67368.507462686568</c:v>
                </c:pt>
                <c:pt idx="9">
                  <c:v>78876.165413533832</c:v>
                </c:pt>
                <c:pt idx="10">
                  <c:v>52579.062832800853</c:v>
                </c:pt>
                <c:pt idx="11">
                  <c:v>51342.777129521586</c:v>
                </c:pt>
                <c:pt idx="12">
                  <c:v>51613.921815889029</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Gillette</c:v>
                </c:pt>
                <c:pt idx="1">
                  <c:v>Schick</c:v>
                </c:pt>
              </c:strCache>
            </c:strRef>
          </c:cat>
          <c:val>
            <c:numRef>
              <c:f>Sheet1!$B$2:$B$3</c:f>
              <c:numCache>
                <c:formatCode>General</c:formatCode>
                <c:ptCount val="2"/>
                <c:pt idx="0">
                  <c:v>1</c:v>
                </c:pt>
                <c:pt idx="1">
                  <c:v>0.9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FFBFBF"/>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Gillette</c:v>
                </c:pt>
                <c:pt idx="1">
                  <c:v>Schick</c:v>
                </c:pt>
              </c:strCache>
            </c:strRef>
          </c:cat>
          <c:val>
            <c:numRef>
              <c:f>Sheet1!$C$2:$C$3</c:f>
              <c:numCache>
                <c:formatCode>General</c:formatCode>
                <c:ptCount val="2"/>
                <c:pt idx="0">
                  <c:v>0.45040300931672739</c:v>
                </c:pt>
                <c:pt idx="1">
                  <c:v>0.7192899841977511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Gillette</c:v>
                </c:pt>
                <c:pt idx="1">
                  <c:v>Schick</c:v>
                </c:pt>
              </c:strCache>
            </c:strRef>
          </c:cat>
          <c:val>
            <c:numRef>
              <c:f>Sheet1!$D$2:$D$3</c:f>
              <c:numCache>
                <c:formatCode>General</c:formatCode>
                <c:ptCount val="2"/>
                <c:pt idx="0">
                  <c:v>37264.120000000003</c:v>
                </c:pt>
                <c:pt idx="1">
                  <c:v>22471.090909090908</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Gillett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Gillette</c:v>
                </c:pt>
              </c:strCache>
            </c:strRef>
          </c:cat>
          <c:val>
            <c:numRef>
              <c:f>Sheet1!$C$2:$C$2</c:f>
              <c:numCache>
                <c:formatCode>General</c:formatCode>
                <c:ptCount val="1"/>
                <c:pt idx="0">
                  <c:v>0.5498807789578691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Gillette</c:v>
                </c:pt>
              </c:strCache>
            </c:strRef>
          </c:cat>
          <c:val>
            <c:numRef>
              <c:f>Sheet1!$D$2:$D$2</c:f>
              <c:numCache>
                <c:formatCode>General</c:formatCode>
                <c:ptCount val="1"/>
                <c:pt idx="0">
                  <c:v>127750.92</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strCache>
            </c:strRef>
          </c:cat>
          <c:val>
            <c:numRef>
              <c:f>Sheet1!$B$2:$B$13</c:f>
              <c:numCache>
                <c:formatCode>General</c:formatCode>
                <c:ptCount val="12"/>
                <c:pt idx="0">
                  <c:v>0.94</c:v>
                </c:pt>
                <c:pt idx="1">
                  <c:v>0.96</c:v>
                </c:pt>
                <c:pt idx="2">
                  <c:v>0.98</c:v>
                </c:pt>
                <c:pt idx="3">
                  <c:v>0.88</c:v>
                </c:pt>
                <c:pt idx="4">
                  <c:v>0.98</c:v>
                </c:pt>
                <c:pt idx="5">
                  <c:v>0.77</c:v>
                </c:pt>
                <c:pt idx="6">
                  <c:v>0.81</c:v>
                </c:pt>
                <c:pt idx="7">
                  <c:v>0.95</c:v>
                </c:pt>
                <c:pt idx="8">
                  <c:v>0.99</c:v>
                </c:pt>
                <c:pt idx="9">
                  <c:v>0.95</c:v>
                </c:pt>
                <c:pt idx="10">
                  <c:v>0.94</c:v>
                </c:pt>
                <c:pt idx="11">
                  <c:v>0.7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FFBFBF"/>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FFBFBF"/>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strCache>
            </c:strRef>
          </c:cat>
          <c:val>
            <c:numRef>
              <c:f>Sheet1!$C$2:$C$13</c:f>
              <c:numCache>
                <c:formatCode>General</c:formatCode>
                <c:ptCount val="12"/>
                <c:pt idx="0">
                  <c:v>7.3717593719280022E-2</c:v>
                </c:pt>
                <c:pt idx="1">
                  <c:v>0.12889610252734976</c:v>
                </c:pt>
                <c:pt idx="2">
                  <c:v>0.18048362463615092</c:v>
                </c:pt>
                <c:pt idx="3">
                  <c:v>0.23044884459357171</c:v>
                </c:pt>
                <c:pt idx="4">
                  <c:v>0.27695591270305125</c:v>
                </c:pt>
                <c:pt idx="5">
                  <c:v>0.32044395814130855</c:v>
                </c:pt>
                <c:pt idx="6">
                  <c:v>0.35709418972082069</c:v>
                </c:pt>
                <c:pt idx="7">
                  <c:v>0.39362193423026881</c:v>
                </c:pt>
                <c:pt idx="8">
                  <c:v>0.42807851283220688</c:v>
                </c:pt>
                <c:pt idx="9">
                  <c:v>0.4618246204376345</c:v>
                </c:pt>
                <c:pt idx="10">
                  <c:v>0.49332541280940345</c:v>
                </c:pt>
                <c:pt idx="11">
                  <c:v>0.523298029514171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3</c:f>
              <c:strCache>
                <c:ptCount val="12"/>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strCache>
            </c:strRef>
          </c:cat>
          <c:val>
            <c:numRef>
              <c:f>Sheet1!$D$2:$D$13</c:f>
              <c:numCache>
                <c:formatCode>General</c:formatCode>
                <c:ptCount val="12"/>
                <c:pt idx="0">
                  <c:v>10231.276595744681</c:v>
                </c:pt>
                <c:pt idx="1">
                  <c:v>7498.6875</c:v>
                </c:pt>
                <c:pt idx="2">
                  <c:v>6867.6020408163267</c:v>
                </c:pt>
                <c:pt idx="3">
                  <c:v>7407.5</c:v>
                </c:pt>
                <c:pt idx="4">
                  <c:v>6191.2653061224491</c:v>
                </c:pt>
                <c:pt idx="5">
                  <c:v>7368.272727272727</c:v>
                </c:pt>
                <c:pt idx="6">
                  <c:v>5903.0740740740739</c:v>
                </c:pt>
                <c:pt idx="7">
                  <c:v>5016.3263157894735</c:v>
                </c:pt>
                <c:pt idx="8">
                  <c:v>4540.7070707070707</c:v>
                </c:pt>
                <c:pt idx="9">
                  <c:v>4634.3263157894735</c:v>
                </c:pt>
                <c:pt idx="10">
                  <c:v>4372</c:v>
                </c:pt>
                <c:pt idx="11">
                  <c:v>5145.144736842105</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c:f>
              <c:strCache>
                <c:ptCount val="11"/>
                <c:pt idx="0">
                  <c:v>Gillette</c:v>
                </c:pt>
                <c:pt idx="1">
                  <c:v>Gillette</c:v>
                </c:pt>
                <c:pt idx="2">
                  <c:v>Gillette</c:v>
                </c:pt>
                <c:pt idx="3">
                  <c:v>Equate</c:v>
                </c:pt>
                <c:pt idx="4">
                  <c:v>Gillette</c:v>
                </c:pt>
                <c:pt idx="5">
                  <c:v>Gillette</c:v>
                </c:pt>
                <c:pt idx="6">
                  <c:v>Gillette</c:v>
                </c:pt>
                <c:pt idx="7">
                  <c:v>Bic</c:v>
                </c:pt>
                <c:pt idx="8">
                  <c:v>Schick</c:v>
                </c:pt>
                <c:pt idx="9">
                  <c:v>Schick</c:v>
                </c:pt>
                <c:pt idx="10">
                  <c:v>Gillette</c:v>
                </c:pt>
              </c:strCache>
            </c:strRef>
          </c:cat>
          <c:val>
            <c:numRef>
              <c:f>Sheet1!$B$2:$B$12</c:f>
              <c:numCache>
                <c:formatCode>General</c:formatCode>
                <c:ptCount val="11"/>
                <c:pt idx="0">
                  <c:v>0.73</c:v>
                </c:pt>
                <c:pt idx="1">
                  <c:v>0.9</c:v>
                </c:pt>
                <c:pt idx="2">
                  <c:v>0.8</c:v>
                </c:pt>
                <c:pt idx="3">
                  <c:v>0.91</c:v>
                </c:pt>
                <c:pt idx="4">
                  <c:v>0.87</c:v>
                </c:pt>
                <c:pt idx="5">
                  <c:v>0.56000000000000005</c:v>
                </c:pt>
                <c:pt idx="6">
                  <c:v>0.81</c:v>
                </c:pt>
                <c:pt idx="7">
                  <c:v>0.94</c:v>
                </c:pt>
                <c:pt idx="8">
                  <c:v>0.77</c:v>
                </c:pt>
                <c:pt idx="9">
                  <c:v>0.65</c:v>
                </c:pt>
                <c:pt idx="10">
                  <c:v>0.4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FFBFBF"/>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FFBFBF"/>
              </a:solidFill>
            </c:spPr>
            <c:extLst>
              <c:ext xmlns:c16="http://schemas.microsoft.com/office/drawing/2014/chart" uri="{C3380CC4-5D6E-409C-BE32-E72D297353CC}">
                <c16:uniqueId val="{00000049-2993-41DE-A2CB-63102DE87051}"/>
              </c:ext>
            </c:extLst>
          </c:dPt>
          <c:dPt>
            <c:idx val="9"/>
            <c:invertIfNegative val="1"/>
            <c:bubble3D val="0"/>
            <c:spPr>
              <a:solidFill>
                <a:srgbClr val="FFBFBF"/>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c:f>
              <c:strCache>
                <c:ptCount val="11"/>
                <c:pt idx="0">
                  <c:v>Gillette</c:v>
                </c:pt>
                <c:pt idx="1">
                  <c:v>Gillette</c:v>
                </c:pt>
                <c:pt idx="2">
                  <c:v>Gillette</c:v>
                </c:pt>
                <c:pt idx="3">
                  <c:v>Equate</c:v>
                </c:pt>
                <c:pt idx="4">
                  <c:v>Gillette</c:v>
                </c:pt>
                <c:pt idx="5">
                  <c:v>Gillette</c:v>
                </c:pt>
                <c:pt idx="6">
                  <c:v>Gillette</c:v>
                </c:pt>
                <c:pt idx="7">
                  <c:v>Bic</c:v>
                </c:pt>
                <c:pt idx="8">
                  <c:v>Schick</c:v>
                </c:pt>
                <c:pt idx="9">
                  <c:v>Schick</c:v>
                </c:pt>
                <c:pt idx="10">
                  <c:v>Gillette</c:v>
                </c:pt>
              </c:strCache>
            </c:strRef>
          </c:cat>
          <c:val>
            <c:numRef>
              <c:f>Sheet1!$C$2:$C$12</c:f>
              <c:numCache>
                <c:formatCode>General</c:formatCode>
                <c:ptCount val="11"/>
                <c:pt idx="0">
                  <c:v>7.1987089545617652E-2</c:v>
                </c:pt>
                <c:pt idx="1">
                  <c:v>0.13260411865714944</c:v>
                </c:pt>
                <c:pt idx="2">
                  <c:v>0.19196969423351884</c:v>
                </c:pt>
                <c:pt idx="3">
                  <c:v>0.24383351693088751</c:v>
                </c:pt>
                <c:pt idx="4">
                  <c:v>0.29362607655821721</c:v>
                </c:pt>
                <c:pt idx="5">
                  <c:v>0.33649417525963421</c:v>
                </c:pt>
                <c:pt idx="6">
                  <c:v>0.37865906130483296</c:v>
                </c:pt>
                <c:pt idx="7">
                  <c:v>0.41803160913899684</c:v>
                </c:pt>
                <c:pt idx="8">
                  <c:v>0.45128880772036223</c:v>
                </c:pt>
                <c:pt idx="9">
                  <c:v>0.4833858281008685</c:v>
                </c:pt>
                <c:pt idx="10">
                  <c:v>0.5149614994751178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2</c:f>
              <c:strCache>
                <c:ptCount val="11"/>
                <c:pt idx="0">
                  <c:v>Gillette</c:v>
                </c:pt>
                <c:pt idx="1">
                  <c:v>Gillette</c:v>
                </c:pt>
                <c:pt idx="2">
                  <c:v>Gillette</c:v>
                </c:pt>
                <c:pt idx="3">
                  <c:v>Equate</c:v>
                </c:pt>
                <c:pt idx="4">
                  <c:v>Gillette</c:v>
                </c:pt>
                <c:pt idx="5">
                  <c:v>Gillette</c:v>
                </c:pt>
                <c:pt idx="6">
                  <c:v>Gillette</c:v>
                </c:pt>
                <c:pt idx="7">
                  <c:v>Bic</c:v>
                </c:pt>
                <c:pt idx="8">
                  <c:v>Schick</c:v>
                </c:pt>
                <c:pt idx="9">
                  <c:v>Schick</c:v>
                </c:pt>
                <c:pt idx="10">
                  <c:v>Gillette</c:v>
                </c:pt>
              </c:strCache>
            </c:strRef>
          </c:cat>
          <c:val>
            <c:numRef>
              <c:f>Sheet1!$D$2:$D$12</c:f>
              <c:numCache>
                <c:formatCode>General</c:formatCode>
                <c:ptCount val="11"/>
                <c:pt idx="0">
                  <c:v>10047.575342465754</c:v>
                </c:pt>
                <c:pt idx="1">
                  <c:v>6862.4888888888891</c:v>
                </c:pt>
                <c:pt idx="2">
                  <c:v>7560.9125000000004</c:v>
                </c:pt>
                <c:pt idx="3">
                  <c:v>5807.0109890109889</c:v>
                </c:pt>
                <c:pt idx="4">
                  <c:v>5831.4252873563219</c:v>
                </c:pt>
                <c:pt idx="5">
                  <c:v>7799.6607142857129</c:v>
                </c:pt>
                <c:pt idx="6">
                  <c:v>5303.9012345679012</c:v>
                </c:pt>
                <c:pt idx="7">
                  <c:v>4267.7127659574471</c:v>
                </c:pt>
                <c:pt idx="8">
                  <c:v>4400.727272727273</c:v>
                </c:pt>
                <c:pt idx="9">
                  <c:v>5031.3076923076924</c:v>
                </c:pt>
                <c:pt idx="10">
                  <c:v>7149.4</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c:f>
              <c:strCache>
                <c:ptCount val="13"/>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strCache>
            </c:strRef>
          </c:cat>
          <c:val>
            <c:numRef>
              <c:f>Sheet1!$B$2:$B$14</c:f>
              <c:numCache>
                <c:formatCode>General</c:formatCode>
                <c:ptCount val="13"/>
                <c:pt idx="0">
                  <c:v>0.92</c:v>
                </c:pt>
                <c:pt idx="1">
                  <c:v>0.99</c:v>
                </c:pt>
                <c:pt idx="2">
                  <c:v>0.98</c:v>
                </c:pt>
                <c:pt idx="3">
                  <c:v>0.95</c:v>
                </c:pt>
                <c:pt idx="4">
                  <c:v>0.87</c:v>
                </c:pt>
                <c:pt idx="5">
                  <c:v>0.97</c:v>
                </c:pt>
                <c:pt idx="6">
                  <c:v>0.96</c:v>
                </c:pt>
                <c:pt idx="7">
                  <c:v>0.83</c:v>
                </c:pt>
                <c:pt idx="8">
                  <c:v>0.99</c:v>
                </c:pt>
                <c:pt idx="9">
                  <c:v>0.68</c:v>
                </c:pt>
                <c:pt idx="10">
                  <c:v>0.95</c:v>
                </c:pt>
                <c:pt idx="11">
                  <c:v>0.87</c:v>
                </c:pt>
                <c:pt idx="12">
                  <c:v>0.9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FFBFBF"/>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FFBFBF"/>
              </a:solidFill>
            </c:spPr>
            <c:extLst>
              <c:ext xmlns:c16="http://schemas.microsoft.com/office/drawing/2014/chart" uri="{C3380CC4-5D6E-409C-BE32-E72D297353CC}">
                <c16:uniqueId val="{0000004D-2993-41DE-A2CB-63102DE87051}"/>
              </c:ext>
            </c:extLst>
          </c:dPt>
          <c:dPt>
            <c:idx val="11"/>
            <c:invertIfNegative val="1"/>
            <c:bubble3D val="0"/>
            <c:spPr>
              <a:solidFill>
                <a:srgbClr val="FFBFBF"/>
              </a:solidFill>
            </c:spPr>
            <c:extLst>
              <c:ext xmlns:c16="http://schemas.microsoft.com/office/drawing/2014/chart" uri="{C3380CC4-5D6E-409C-BE32-E72D297353CC}">
                <c16:uniqueId val="{0000004F-2993-41DE-A2CB-63102DE87051}"/>
              </c:ext>
            </c:extLst>
          </c:dPt>
          <c:dPt>
            <c:idx val="12"/>
            <c:invertIfNegative val="1"/>
            <c:bubble3D val="0"/>
            <c:spPr>
              <a:solidFill>
                <a:srgbClr val="FFBFBF"/>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c:f>
              <c:strCache>
                <c:ptCount val="13"/>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strCache>
            </c:strRef>
          </c:cat>
          <c:val>
            <c:numRef>
              <c:f>Sheet1!$C$2:$C$14</c:f>
              <c:numCache>
                <c:formatCode>General</c:formatCode>
                <c:ptCount val="13"/>
                <c:pt idx="0">
                  <c:v>6.706344494347008E-2</c:v>
                </c:pt>
                <c:pt idx="1">
                  <c:v>0.12204378581667386</c:v>
                </c:pt>
                <c:pt idx="2">
                  <c:v>0.17611620993744068</c:v>
                </c:pt>
                <c:pt idx="3">
                  <c:v>0.22117284733140821</c:v>
                </c:pt>
                <c:pt idx="4">
                  <c:v>0.26365573785436502</c:v>
                </c:pt>
                <c:pt idx="5">
                  <c:v>0.30105600954801648</c:v>
                </c:pt>
                <c:pt idx="6">
                  <c:v>0.3364505724081438</c:v>
                </c:pt>
                <c:pt idx="7">
                  <c:v>0.37166420297665409</c:v>
                </c:pt>
                <c:pt idx="8">
                  <c:v>0.40660910213936424</c:v>
                </c:pt>
                <c:pt idx="9">
                  <c:v>0.43855633715261161</c:v>
                </c:pt>
                <c:pt idx="10">
                  <c:v>0.46878040988977476</c:v>
                </c:pt>
                <c:pt idx="11">
                  <c:v>0.49570148485957183</c:v>
                </c:pt>
                <c:pt idx="12">
                  <c:v>0.5207820625976646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4</c:f>
              <c:strCache>
                <c:ptCount val="13"/>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strCache>
            </c:strRef>
          </c:cat>
          <c:val>
            <c:numRef>
              <c:f>Sheet1!$D$2:$D$14</c:f>
              <c:numCache>
                <c:formatCode>General</c:formatCode>
                <c:ptCount val="13"/>
                <c:pt idx="0">
                  <c:v>100991.38043478261</c:v>
                </c:pt>
                <c:pt idx="1">
                  <c:v>76941.121212121216</c:v>
                </c:pt>
                <c:pt idx="2">
                  <c:v>76442.704081632648</c:v>
                </c:pt>
                <c:pt idx="3">
                  <c:v>65708.484210526309</c:v>
                </c:pt>
                <c:pt idx="4">
                  <c:v>67652.068965517246</c:v>
                </c:pt>
                <c:pt idx="5">
                  <c:v>53418.206185567011</c:v>
                </c:pt>
                <c:pt idx="6">
                  <c:v>51080.083333333336</c:v>
                </c:pt>
                <c:pt idx="7">
                  <c:v>58778.566265060239</c:v>
                </c:pt>
                <c:pt idx="8">
                  <c:v>48902.929292929293</c:v>
                </c:pt>
                <c:pt idx="9">
                  <c:v>65089.455882352944</c:v>
                </c:pt>
                <c:pt idx="10">
                  <c:v>44077.368421052633</c:v>
                </c:pt>
                <c:pt idx="11">
                  <c:v>42870.586206896551</c:v>
                </c:pt>
                <c:pt idx="12">
                  <c:v>36195.333333333336</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Gillette</c:v>
                </c:pt>
                <c:pt idx="1">
                  <c:v>Gillette</c:v>
                </c:pt>
                <c:pt idx="2">
                  <c:v>Gillette</c:v>
                </c:pt>
                <c:pt idx="3">
                  <c:v>Harry's</c:v>
                </c:pt>
                <c:pt idx="4">
                  <c:v>Gillette</c:v>
                </c:pt>
                <c:pt idx="5">
                  <c:v>Harry's</c:v>
                </c:pt>
                <c:pt idx="6">
                  <c:v>Gillette</c:v>
                </c:pt>
              </c:strCache>
            </c:strRef>
          </c:cat>
          <c:val>
            <c:numRef>
              <c:f>Sheet1!$B$2:$B$8</c:f>
              <c:numCache>
                <c:formatCode>General</c:formatCode>
                <c:ptCount val="7"/>
                <c:pt idx="0">
                  <c:v>0.92900000000000005</c:v>
                </c:pt>
                <c:pt idx="1">
                  <c:v>0.94899999999999995</c:v>
                </c:pt>
                <c:pt idx="2">
                  <c:v>0.83799999999999997</c:v>
                </c:pt>
                <c:pt idx="3">
                  <c:v>0.84899999999999998</c:v>
                </c:pt>
                <c:pt idx="4">
                  <c:v>0.89700000000000002</c:v>
                </c:pt>
                <c:pt idx="5">
                  <c:v>0.92100000000000004</c:v>
                </c:pt>
                <c:pt idx="6">
                  <c:v>0.63200000000000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Gillette</c:v>
                </c:pt>
                <c:pt idx="1">
                  <c:v>Gillette</c:v>
                </c:pt>
                <c:pt idx="2">
                  <c:v>Gillette</c:v>
                </c:pt>
                <c:pt idx="3">
                  <c:v>Harry's</c:v>
                </c:pt>
                <c:pt idx="4">
                  <c:v>Gillette</c:v>
                </c:pt>
                <c:pt idx="5">
                  <c:v>Harry's</c:v>
                </c:pt>
                <c:pt idx="6">
                  <c:v>Gillette</c:v>
                </c:pt>
              </c:strCache>
            </c:strRef>
          </c:cat>
          <c:val>
            <c:numRef>
              <c:f>Sheet1!$C$2:$C$8</c:f>
              <c:numCache>
                <c:formatCode>General</c:formatCode>
                <c:ptCount val="7"/>
                <c:pt idx="0">
                  <c:v>0.12308699612575454</c:v>
                </c:pt>
                <c:pt idx="1">
                  <c:v>0.22169717203232286</c:v>
                </c:pt>
                <c:pt idx="2">
                  <c:v>0.30000944583341527</c:v>
                </c:pt>
                <c:pt idx="3">
                  <c:v>0.36978396190527002</c:v>
                </c:pt>
                <c:pt idx="4">
                  <c:v>0.43435190297926091</c:v>
                </c:pt>
                <c:pt idx="5">
                  <c:v>0.49274297225814329</c:v>
                </c:pt>
                <c:pt idx="6">
                  <c:v>0.5396630508762618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Gillette</c:v>
                </c:pt>
                <c:pt idx="1">
                  <c:v>Gillette</c:v>
                </c:pt>
                <c:pt idx="2">
                  <c:v>Gillette</c:v>
                </c:pt>
                <c:pt idx="3">
                  <c:v>Harry's</c:v>
                </c:pt>
                <c:pt idx="4">
                  <c:v>Gillette</c:v>
                </c:pt>
                <c:pt idx="5">
                  <c:v>Harry's</c:v>
                </c:pt>
                <c:pt idx="6">
                  <c:v>Gillette</c:v>
                </c:pt>
              </c:strCache>
            </c:strRef>
          </c:cat>
          <c:val>
            <c:numRef>
              <c:f>Sheet1!$D$2:$D$8</c:f>
              <c:numCache>
                <c:formatCode>General</c:formatCode>
                <c:ptCount val="7"/>
                <c:pt idx="0">
                  <c:v>145821.79763186219</c:v>
                </c:pt>
                <c:pt idx="1">
                  <c:v>114361.93888303479</c:v>
                </c:pt>
                <c:pt idx="2">
                  <c:v>102851.77804295943</c:v>
                </c:pt>
                <c:pt idx="3">
                  <c:v>90451.366313309787</c:v>
                </c:pt>
                <c:pt idx="4">
                  <c:v>79222.853957636558</c:v>
                </c:pt>
                <c:pt idx="5">
                  <c:v>69777.079261672086</c:v>
                </c:pt>
                <c:pt idx="6">
                  <c:v>81708.575949367092</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Dollar Shave Club</c:v>
                </c:pt>
                <c:pt idx="4">
                  <c:v>Schick</c:v>
                </c:pt>
                <c:pt idx="5">
                  <c:v>Equate</c:v>
                </c:pt>
                <c:pt idx="6">
                  <c:v>Comfort 3</c:v>
                </c:pt>
                <c:pt idx="7">
                  <c:v>Cremo</c:v>
                </c:pt>
                <c:pt idx="8">
                  <c:v>Others</c:v>
                </c:pt>
              </c:strCache>
            </c:strRef>
          </c:cat>
          <c:val>
            <c:numRef>
              <c:f>Sheet1!$B$2:$B$10</c:f>
              <c:numCache>
                <c:formatCode>General</c:formatCode>
                <c:ptCount val="9"/>
                <c:pt idx="0">
                  <c:v>0.59012128868399372</c:v>
                </c:pt>
                <c:pt idx="1">
                  <c:v>0.20514442686203471</c:v>
                </c:pt>
                <c:pt idx="2">
                  <c:v>6.2632646200993888E-2</c:v>
                </c:pt>
                <c:pt idx="3">
                  <c:v>4.56218420807529E-2</c:v>
                </c:pt>
                <c:pt idx="4">
                  <c:v>4.141829608641405E-2</c:v>
                </c:pt>
                <c:pt idx="5">
                  <c:v>4.0043314347797926E-2</c:v>
                </c:pt>
                <c:pt idx="6">
                  <c:v>1.3853653151430251E-2</c:v>
                </c:pt>
                <c:pt idx="7">
                  <c:v>4.0186864190620004E-6</c:v>
                </c:pt>
                <c:pt idx="8">
                  <c:v>1.1605139001635368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Dollar Shave Club</c:v>
                </c:pt>
                <c:pt idx="4">
                  <c:v>Schick</c:v>
                </c:pt>
                <c:pt idx="5">
                  <c:v>Equate</c:v>
                </c:pt>
                <c:pt idx="6">
                  <c:v>Comfort 3</c:v>
                </c:pt>
                <c:pt idx="7">
                  <c:v>Cremo</c:v>
                </c:pt>
                <c:pt idx="8">
                  <c:v>Others</c:v>
                </c:pt>
              </c:strCache>
            </c:strRef>
          </c:cat>
          <c:val>
            <c:numRef>
              <c:f>Sheet1!$C$2:$C$10</c:f>
              <c:numCache>
                <c:formatCode>General</c:formatCode>
                <c:ptCount val="9"/>
                <c:pt idx="0">
                  <c:v>0.47100840336134464</c:v>
                </c:pt>
                <c:pt idx="1">
                  <c:v>0.16218487394957984</c:v>
                </c:pt>
                <c:pt idx="2">
                  <c:v>0.11680672268907563</c:v>
                </c:pt>
                <c:pt idx="3">
                  <c:v>7.9831932773109252E-2</c:v>
                </c:pt>
                <c:pt idx="4">
                  <c:v>4.957983193277312E-2</c:v>
                </c:pt>
                <c:pt idx="5">
                  <c:v>8.3613445378151255E-2</c:v>
                </c:pt>
                <c:pt idx="6">
                  <c:v>2.8991596638655463E-2</c:v>
                </c:pt>
                <c:pt idx="7">
                  <c:v>0</c:v>
                </c:pt>
                <c:pt idx="8">
                  <c:v>7.983193277310925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Dollar Shave Club</c:v>
                </c:pt>
                <c:pt idx="4">
                  <c:v>Schick</c:v>
                </c:pt>
                <c:pt idx="5">
                  <c:v>Equate</c:v>
                </c:pt>
                <c:pt idx="6">
                  <c:v>Comfort 3</c:v>
                </c:pt>
                <c:pt idx="7">
                  <c:v>Cremo</c:v>
                </c:pt>
                <c:pt idx="8">
                  <c:v>Others</c:v>
                </c:pt>
              </c:strCache>
            </c:strRef>
          </c:cat>
          <c:val>
            <c:numRef>
              <c:f>Sheet1!$D$2:$D$10</c:f>
              <c:numCache>
                <c:formatCode>General</c:formatCode>
                <c:ptCount val="9"/>
                <c:pt idx="0">
                  <c:v>0.79815524773173663</c:v>
                </c:pt>
                <c:pt idx="1">
                  <c:v>0.79058873999367107</c:v>
                </c:pt>
                <c:pt idx="2">
                  <c:v>1.86494950754966</c:v>
                </c:pt>
                <c:pt idx="3">
                  <c:v>1.7498621084129573</c:v>
                </c:pt>
                <c:pt idx="4">
                  <c:v>1.1970514631826248</c:v>
                </c:pt>
                <c:pt idx="5">
                  <c:v>2.0880750442364255</c:v>
                </c:pt>
                <c:pt idx="6">
                  <c:v>2.092704091964535</c:v>
                </c:pt>
                <c:pt idx="7">
                  <c:v>0</c:v>
                </c:pt>
                <c:pt idx="8">
                  <c:v>6.87901564659066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Gillette</c:v>
                </c:pt>
                <c:pt idx="1">
                  <c:v>Harry's</c:v>
                </c:pt>
              </c:strCache>
            </c:strRef>
          </c:cat>
          <c:val>
            <c:numRef>
              <c:f>Sheet1!$B$2:$B$3</c:f>
              <c:numCache>
                <c:formatCode>General</c:formatCode>
                <c:ptCount val="2"/>
                <c:pt idx="0">
                  <c:v>0.98</c:v>
                </c:pt>
                <c:pt idx="1">
                  <c:v>0.9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Gillette</c:v>
                </c:pt>
                <c:pt idx="1">
                  <c:v>Harry's</c:v>
                </c:pt>
              </c:strCache>
            </c:strRef>
          </c:cat>
          <c:val>
            <c:numRef>
              <c:f>Sheet1!$C$2:$C$3</c:f>
              <c:numCache>
                <c:formatCode>General</c:formatCode>
                <c:ptCount val="2"/>
                <c:pt idx="0">
                  <c:v>0.4367633162117775</c:v>
                </c:pt>
                <c:pt idx="1">
                  <c:v>0.750685952152416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Gillette</c:v>
                </c:pt>
                <c:pt idx="1">
                  <c:v>Harry's</c:v>
                </c:pt>
              </c:strCache>
            </c:strRef>
          </c:cat>
          <c:val>
            <c:numRef>
              <c:f>Sheet1!$D$2:$D$3</c:f>
              <c:numCache>
                <c:formatCode>General</c:formatCode>
                <c:ptCount val="2"/>
                <c:pt idx="0">
                  <c:v>28759.857142857141</c:v>
                </c:pt>
                <c:pt idx="1">
                  <c:v>20462.282828282827</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Gillette</c:v>
                </c:pt>
              </c:strCache>
            </c:strRef>
          </c:cat>
          <c:val>
            <c:numRef>
              <c:f>Sheet1!$B$2:$B$2</c:f>
              <c:numCache>
                <c:formatCode>General</c:formatCode>
                <c:ptCount val="1"/>
                <c:pt idx="0">
                  <c:v>0.9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Gillette</c:v>
                </c:pt>
              </c:strCache>
            </c:strRef>
          </c:cat>
          <c:val>
            <c:numRef>
              <c:f>Sheet1!$C$2:$C$2</c:f>
              <c:numCache>
                <c:formatCode>General</c:formatCode>
                <c:ptCount val="1"/>
                <c:pt idx="0">
                  <c:v>0.5993728903380642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Gillette</c:v>
                </c:pt>
              </c:strCache>
            </c:strRef>
          </c:cat>
          <c:val>
            <c:numRef>
              <c:f>Sheet1!$D$2:$D$2</c:f>
              <c:numCache>
                <c:formatCode>General</c:formatCode>
                <c:ptCount val="1"/>
                <c:pt idx="0">
                  <c:v>76871.252747252744</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Gillette</c:v>
                </c:pt>
                <c:pt idx="1">
                  <c:v>Gillette</c:v>
                </c:pt>
                <c:pt idx="2">
                  <c:v>Gillette</c:v>
                </c:pt>
                <c:pt idx="3">
                  <c:v>Gillette</c:v>
                </c:pt>
                <c:pt idx="4">
                  <c:v>Harry's</c:v>
                </c:pt>
                <c:pt idx="5">
                  <c:v>Harry's</c:v>
                </c:pt>
              </c:strCache>
            </c:strRef>
          </c:cat>
          <c:val>
            <c:numRef>
              <c:f>Sheet1!$B$2:$B$7</c:f>
              <c:numCache>
                <c:formatCode>General</c:formatCode>
                <c:ptCount val="6"/>
                <c:pt idx="0">
                  <c:v>0.93</c:v>
                </c:pt>
                <c:pt idx="1">
                  <c:v>0.95</c:v>
                </c:pt>
                <c:pt idx="2">
                  <c:v>0.79</c:v>
                </c:pt>
                <c:pt idx="3">
                  <c:v>0.9</c:v>
                </c:pt>
                <c:pt idx="4">
                  <c:v>0.75</c:v>
                </c:pt>
                <c:pt idx="5">
                  <c:v>0.8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Gillette</c:v>
                </c:pt>
                <c:pt idx="1">
                  <c:v>Gillette</c:v>
                </c:pt>
                <c:pt idx="2">
                  <c:v>Gillette</c:v>
                </c:pt>
                <c:pt idx="3">
                  <c:v>Gillette</c:v>
                </c:pt>
                <c:pt idx="4">
                  <c:v>Harry's</c:v>
                </c:pt>
                <c:pt idx="5">
                  <c:v>Harry's</c:v>
                </c:pt>
              </c:strCache>
            </c:strRef>
          </c:cat>
          <c:val>
            <c:numRef>
              <c:f>Sheet1!$C$2:$C$7</c:f>
              <c:numCache>
                <c:formatCode>General</c:formatCode>
                <c:ptCount val="6"/>
                <c:pt idx="0">
                  <c:v>0.14684023274017932</c:v>
                </c:pt>
                <c:pt idx="1">
                  <c:v>0.25796547329394043</c:v>
                </c:pt>
                <c:pt idx="2">
                  <c:v>0.34234057043385863</c:v>
                </c:pt>
                <c:pt idx="3">
                  <c:v>0.41345532694117343</c:v>
                </c:pt>
                <c:pt idx="4">
                  <c:v>0.47385106437091479</c:v>
                </c:pt>
                <c:pt idx="5">
                  <c:v>0.530449937971746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Gillette</c:v>
                </c:pt>
                <c:pt idx="1">
                  <c:v>Gillette</c:v>
                </c:pt>
                <c:pt idx="2">
                  <c:v>Gillette</c:v>
                </c:pt>
                <c:pt idx="3">
                  <c:v>Gillette</c:v>
                </c:pt>
                <c:pt idx="4">
                  <c:v>Harry's</c:v>
                </c:pt>
                <c:pt idx="5">
                  <c:v>Harry's</c:v>
                </c:pt>
              </c:strCache>
            </c:strRef>
          </c:cat>
          <c:val>
            <c:numRef>
              <c:f>Sheet1!$D$2:$D$7</c:f>
              <c:numCache>
                <c:formatCode>General</c:formatCode>
                <c:ptCount val="6"/>
                <c:pt idx="0">
                  <c:v>11174.731182795698</c:v>
                </c:pt>
                <c:pt idx="1">
                  <c:v>8278.7368421052633</c:v>
                </c:pt>
                <c:pt idx="2">
                  <c:v>7558.9620253164558</c:v>
                </c:pt>
                <c:pt idx="3">
                  <c:v>5592.3222222222221</c:v>
                </c:pt>
                <c:pt idx="4">
                  <c:v>5699.28</c:v>
                </c:pt>
                <c:pt idx="5">
                  <c:v>4551.97727272727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Gillette</c:v>
                </c:pt>
                <c:pt idx="1">
                  <c:v>Gillette</c:v>
                </c:pt>
                <c:pt idx="2">
                  <c:v>Gillette</c:v>
                </c:pt>
                <c:pt idx="3">
                  <c:v>Gillette</c:v>
                </c:pt>
                <c:pt idx="4">
                  <c:v>Harry's</c:v>
                </c:pt>
              </c:strCache>
            </c:strRef>
          </c:cat>
          <c:val>
            <c:numRef>
              <c:f>Sheet1!$B$2:$B$6</c:f>
              <c:numCache>
                <c:formatCode>General</c:formatCode>
                <c:ptCount val="5"/>
                <c:pt idx="0">
                  <c:v>0.76</c:v>
                </c:pt>
                <c:pt idx="1">
                  <c:v>0.79</c:v>
                </c:pt>
                <c:pt idx="2">
                  <c:v>0.57999999999999996</c:v>
                </c:pt>
                <c:pt idx="3">
                  <c:v>0.71</c:v>
                </c:pt>
                <c:pt idx="4">
                  <c:v>0.6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Gillette</c:v>
                </c:pt>
                <c:pt idx="1">
                  <c:v>Gillette</c:v>
                </c:pt>
                <c:pt idx="2">
                  <c:v>Gillette</c:v>
                </c:pt>
                <c:pt idx="3">
                  <c:v>Gillette</c:v>
                </c:pt>
                <c:pt idx="4">
                  <c:v>Harry's</c:v>
                </c:pt>
              </c:strCache>
            </c:strRef>
          </c:cat>
          <c:val>
            <c:numRef>
              <c:f>Sheet1!$C$2:$C$6</c:f>
              <c:numCache>
                <c:formatCode>General</c:formatCode>
                <c:ptCount val="5"/>
                <c:pt idx="0">
                  <c:v>0.15836197139623417</c:v>
                </c:pt>
                <c:pt idx="1">
                  <c:v>0.29774649468239345</c:v>
                </c:pt>
                <c:pt idx="2">
                  <c:v>0.39383962061192229</c:v>
                </c:pt>
                <c:pt idx="3">
                  <c:v>0.47369445042045105</c:v>
                </c:pt>
                <c:pt idx="4">
                  <c:v>0.5507003152213565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Gillette</c:v>
                </c:pt>
                <c:pt idx="1">
                  <c:v>Gillette</c:v>
                </c:pt>
                <c:pt idx="2">
                  <c:v>Gillette</c:v>
                </c:pt>
                <c:pt idx="3">
                  <c:v>Gillette</c:v>
                </c:pt>
                <c:pt idx="4">
                  <c:v>Harry's</c:v>
                </c:pt>
              </c:strCache>
            </c:strRef>
          </c:cat>
          <c:val>
            <c:numRef>
              <c:f>Sheet1!$D$2:$D$6</c:f>
              <c:numCache>
                <c:formatCode>General</c:formatCode>
                <c:ptCount val="5"/>
                <c:pt idx="0">
                  <c:v>11138.368421052632</c:v>
                </c:pt>
                <c:pt idx="1">
                  <c:v>9431.3037974683539</c:v>
                </c:pt>
                <c:pt idx="2">
                  <c:v>8856.2241379310362</c:v>
                </c:pt>
                <c:pt idx="3">
                  <c:v>6012.1126760563384</c:v>
                </c:pt>
                <c:pt idx="4">
                  <c:v>5965.666666666667</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Gillette</c:v>
                </c:pt>
                <c:pt idx="1">
                  <c:v>Gillette</c:v>
                </c:pt>
                <c:pt idx="2">
                  <c:v>Gillette</c:v>
                </c:pt>
                <c:pt idx="3">
                  <c:v>Harry's</c:v>
                </c:pt>
                <c:pt idx="4">
                  <c:v>Gillette</c:v>
                </c:pt>
                <c:pt idx="5">
                  <c:v>Harry's</c:v>
                </c:pt>
                <c:pt idx="6">
                  <c:v>Gillette</c:v>
                </c:pt>
              </c:strCache>
            </c:strRef>
          </c:cat>
          <c:val>
            <c:numRef>
              <c:f>Sheet1!$B$2:$B$8</c:f>
              <c:numCache>
                <c:formatCode>General</c:formatCode>
                <c:ptCount val="7"/>
                <c:pt idx="0">
                  <c:v>0.94</c:v>
                </c:pt>
                <c:pt idx="1">
                  <c:v>0.96</c:v>
                </c:pt>
                <c:pt idx="2">
                  <c:v>0.86</c:v>
                </c:pt>
                <c:pt idx="3">
                  <c:v>0.89</c:v>
                </c:pt>
                <c:pt idx="4">
                  <c:v>0.91</c:v>
                </c:pt>
                <c:pt idx="5">
                  <c:v>0.94</c:v>
                </c:pt>
                <c:pt idx="6">
                  <c:v>0.6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Gillette</c:v>
                </c:pt>
                <c:pt idx="1">
                  <c:v>Gillette</c:v>
                </c:pt>
                <c:pt idx="2">
                  <c:v>Gillette</c:v>
                </c:pt>
                <c:pt idx="3">
                  <c:v>Harry's</c:v>
                </c:pt>
                <c:pt idx="4">
                  <c:v>Gillette</c:v>
                </c:pt>
                <c:pt idx="5">
                  <c:v>Harry's</c:v>
                </c:pt>
                <c:pt idx="6">
                  <c:v>Gillette</c:v>
                </c:pt>
              </c:strCache>
            </c:strRef>
          </c:cat>
          <c:val>
            <c:numRef>
              <c:f>Sheet1!$C$2:$C$8</c:f>
              <c:numCache>
                <c:formatCode>General</c:formatCode>
                <c:ptCount val="7"/>
                <c:pt idx="0">
                  <c:v>0.11943392370361504</c:v>
                </c:pt>
                <c:pt idx="1">
                  <c:v>0.21490457262394724</c:v>
                </c:pt>
                <c:pt idx="2">
                  <c:v>0.29180388945342195</c:v>
                </c:pt>
                <c:pt idx="3">
                  <c:v>0.36325092738620257</c:v>
                </c:pt>
                <c:pt idx="4">
                  <c:v>0.42650736911842091</c:v>
                </c:pt>
                <c:pt idx="5">
                  <c:v>0.48400921592247331</c:v>
                </c:pt>
                <c:pt idx="6">
                  <c:v>0.5326957394650948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Gillette</c:v>
                </c:pt>
                <c:pt idx="1">
                  <c:v>Gillette</c:v>
                </c:pt>
                <c:pt idx="2">
                  <c:v>Gillette</c:v>
                </c:pt>
                <c:pt idx="3">
                  <c:v>Harry's</c:v>
                </c:pt>
                <c:pt idx="4">
                  <c:v>Gillette</c:v>
                </c:pt>
                <c:pt idx="5">
                  <c:v>Harry's</c:v>
                </c:pt>
                <c:pt idx="6">
                  <c:v>Gillette</c:v>
                </c:pt>
              </c:strCache>
            </c:strRef>
          </c:cat>
          <c:val>
            <c:numRef>
              <c:f>Sheet1!$D$2:$D$8</c:f>
              <c:numCache>
                <c:formatCode>General</c:formatCode>
                <c:ptCount val="7"/>
                <c:pt idx="0">
                  <c:v>124054.03191489361</c:v>
                </c:pt>
                <c:pt idx="1">
                  <c:v>97097.864583333328</c:v>
                </c:pt>
                <c:pt idx="2">
                  <c:v>87304.186046511633</c:v>
                </c:pt>
                <c:pt idx="3">
                  <c:v>78380</c:v>
                </c:pt>
                <c:pt idx="4">
                  <c:v>67869.461538461532</c:v>
                </c:pt>
                <c:pt idx="5">
                  <c:v>59726.212765957447</c:v>
                </c:pt>
                <c:pt idx="6">
                  <c:v>72023.77272727272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Gillette</c:v>
                </c:pt>
                <c:pt idx="1">
                  <c:v>Harry's</c:v>
                </c:pt>
                <c:pt idx="2">
                  <c:v>Gillette</c:v>
                </c:pt>
                <c:pt idx="3">
                  <c:v>Harry's</c:v>
                </c:pt>
                <c:pt idx="4">
                  <c:v>Gillette</c:v>
                </c:pt>
              </c:strCache>
            </c:strRef>
          </c:cat>
          <c:val>
            <c:numRef>
              <c:f>Sheet1!$B$2:$B$6</c:f>
              <c:numCache>
                <c:formatCode>General</c:formatCode>
                <c:ptCount val="5"/>
                <c:pt idx="0">
                  <c:v>0.98599999999999999</c:v>
                </c:pt>
                <c:pt idx="1">
                  <c:v>0.98799999999999999</c:v>
                </c:pt>
                <c:pt idx="2">
                  <c:v>0.98499999999999999</c:v>
                </c:pt>
                <c:pt idx="3">
                  <c:v>0.92100000000000004</c:v>
                </c:pt>
                <c:pt idx="4">
                  <c:v>0.8609999999999999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Gillette</c:v>
                </c:pt>
                <c:pt idx="1">
                  <c:v>Harry's</c:v>
                </c:pt>
                <c:pt idx="2">
                  <c:v>Gillette</c:v>
                </c:pt>
                <c:pt idx="3">
                  <c:v>Harry's</c:v>
                </c:pt>
                <c:pt idx="4">
                  <c:v>Gillette</c:v>
                </c:pt>
              </c:strCache>
            </c:strRef>
          </c:cat>
          <c:val>
            <c:numRef>
              <c:f>Sheet1!$C$2:$C$6</c:f>
              <c:numCache>
                <c:formatCode>General</c:formatCode>
                <c:ptCount val="5"/>
                <c:pt idx="0">
                  <c:v>0.14143384146150964</c:v>
                </c:pt>
                <c:pt idx="1">
                  <c:v>0.27578671817783518</c:v>
                </c:pt>
                <c:pt idx="2">
                  <c:v>0.367747969073841</c:v>
                </c:pt>
                <c:pt idx="3">
                  <c:v>0.43678954484186555</c:v>
                </c:pt>
                <c:pt idx="4">
                  <c:v>0.5048882506701641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Gillette</c:v>
                </c:pt>
                <c:pt idx="1">
                  <c:v>Harry's</c:v>
                </c:pt>
                <c:pt idx="2">
                  <c:v>Gillette</c:v>
                </c:pt>
                <c:pt idx="3">
                  <c:v>Harry's</c:v>
                </c:pt>
                <c:pt idx="4">
                  <c:v>Gillette</c:v>
                </c:pt>
              </c:strCache>
            </c:strRef>
          </c:cat>
          <c:val>
            <c:numRef>
              <c:f>Sheet1!$D$2:$D$6</c:f>
              <c:numCache>
                <c:formatCode>General</c:formatCode>
                <c:ptCount val="5"/>
                <c:pt idx="0">
                  <c:v>275709.87829614605</c:v>
                </c:pt>
                <c:pt idx="1">
                  <c:v>261376.13360323888</c:v>
                </c:pt>
                <c:pt idx="2">
                  <c:v>179450.4467005076</c:v>
                </c:pt>
                <c:pt idx="3">
                  <c:v>144087.71986970684</c:v>
                </c:pt>
                <c:pt idx="4">
                  <c:v>152023.8095238095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Gillett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Gillette</c:v>
                </c:pt>
              </c:strCache>
            </c:strRef>
          </c:cat>
          <c:val>
            <c:numRef>
              <c:f>Sheet1!$C$2:$C$2</c:f>
              <c:numCache>
                <c:formatCode>General</c:formatCode>
                <c:ptCount val="1"/>
                <c:pt idx="0">
                  <c:v>0.6521750726605191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Gillette</c:v>
                </c:pt>
              </c:strCache>
            </c:strRef>
          </c:cat>
          <c:val>
            <c:numRef>
              <c:f>Sheet1!$D$2:$D$2</c:f>
              <c:numCache>
                <c:formatCode>General</c:formatCode>
                <c:ptCount val="1"/>
                <c:pt idx="0">
                  <c:v>105878.96</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Gillette</c:v>
                </c:pt>
              </c:strCache>
            </c:strRef>
          </c:cat>
          <c:val>
            <c:numRef>
              <c:f>Sheet1!$B$2:$B$2</c:f>
              <c:numCache>
                <c:formatCode>General</c:formatCode>
                <c:ptCount val="1"/>
                <c:pt idx="0">
                  <c:v>0.9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Gillette</c:v>
                </c:pt>
              </c:strCache>
            </c:strRef>
          </c:cat>
          <c:val>
            <c:numRef>
              <c:f>Sheet1!$C$2:$C$2</c:f>
              <c:numCache>
                <c:formatCode>General</c:formatCode>
                <c:ptCount val="1"/>
                <c:pt idx="0">
                  <c:v>0.6297048132116125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Gillette</c:v>
                </c:pt>
              </c:strCache>
            </c:strRef>
          </c:cat>
          <c:val>
            <c:numRef>
              <c:f>Sheet1!$D$2:$D$2</c:f>
              <c:numCache>
                <c:formatCode>General</c:formatCode>
                <c:ptCount val="1"/>
                <c:pt idx="0">
                  <c:v>369409.1808510638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Gillette</c:v>
                </c:pt>
                <c:pt idx="1">
                  <c:v>Harry's</c:v>
                </c:pt>
                <c:pt idx="2">
                  <c:v>Gillette</c:v>
                </c:pt>
                <c:pt idx="3">
                  <c:v>Gillette</c:v>
                </c:pt>
                <c:pt idx="4">
                  <c:v>Harry's</c:v>
                </c:pt>
                <c:pt idx="5">
                  <c:v>Gillette</c:v>
                </c:pt>
              </c:strCache>
            </c:strRef>
          </c:cat>
          <c:val>
            <c:numRef>
              <c:f>Sheet1!$B$2:$B$7</c:f>
              <c:numCache>
                <c:formatCode>General</c:formatCode>
                <c:ptCount val="6"/>
                <c:pt idx="0">
                  <c:v>0.99</c:v>
                </c:pt>
                <c:pt idx="1">
                  <c:v>0.99</c:v>
                </c:pt>
                <c:pt idx="2">
                  <c:v>0.99</c:v>
                </c:pt>
                <c:pt idx="3">
                  <c:v>0.88</c:v>
                </c:pt>
                <c:pt idx="4">
                  <c:v>0.9</c:v>
                </c:pt>
                <c:pt idx="5">
                  <c:v>0.8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Gillette</c:v>
                </c:pt>
                <c:pt idx="1">
                  <c:v>Harry's</c:v>
                </c:pt>
                <c:pt idx="2">
                  <c:v>Gillette</c:v>
                </c:pt>
                <c:pt idx="3">
                  <c:v>Gillette</c:v>
                </c:pt>
                <c:pt idx="4">
                  <c:v>Harry's</c:v>
                </c:pt>
                <c:pt idx="5">
                  <c:v>Gillette</c:v>
                </c:pt>
              </c:strCache>
            </c:strRef>
          </c:cat>
          <c:val>
            <c:numRef>
              <c:f>Sheet1!$C$2:$C$7</c:f>
              <c:numCache>
                <c:formatCode>General</c:formatCode>
                <c:ptCount val="6"/>
                <c:pt idx="0">
                  <c:v>0.14603919761188924</c:v>
                </c:pt>
                <c:pt idx="1">
                  <c:v>0.25787842539589018</c:v>
                </c:pt>
                <c:pt idx="2">
                  <c:v>0.34751153330949658</c:v>
                </c:pt>
                <c:pt idx="3">
                  <c:v>0.43248198087436562</c:v>
                </c:pt>
                <c:pt idx="4">
                  <c:v>0.4996473188990268</c:v>
                </c:pt>
                <c:pt idx="5">
                  <c:v>0.5632679485458587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Gillette</c:v>
                </c:pt>
                <c:pt idx="1">
                  <c:v>Harry's</c:v>
                </c:pt>
                <c:pt idx="2">
                  <c:v>Gillette</c:v>
                </c:pt>
                <c:pt idx="3">
                  <c:v>Gillette</c:v>
                </c:pt>
                <c:pt idx="4">
                  <c:v>Harry's</c:v>
                </c:pt>
                <c:pt idx="5">
                  <c:v>Gillette</c:v>
                </c:pt>
              </c:strCache>
            </c:strRef>
          </c:cat>
          <c:val>
            <c:numRef>
              <c:f>Sheet1!$D$2:$D$7</c:f>
              <c:numCache>
                <c:formatCode>General</c:formatCode>
                <c:ptCount val="6"/>
                <c:pt idx="0">
                  <c:v>18627.454545454544</c:v>
                </c:pt>
                <c:pt idx="1">
                  <c:v>14265.212121212122</c:v>
                </c:pt>
                <c:pt idx="2">
                  <c:v>11432.797979797981</c:v>
                </c:pt>
                <c:pt idx="3">
                  <c:v>12192.829545454546</c:v>
                </c:pt>
                <c:pt idx="4">
                  <c:v>9423.7111111111117</c:v>
                </c:pt>
                <c:pt idx="5">
                  <c:v>9234.172413793103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Gillette</c:v>
                </c:pt>
                <c:pt idx="1">
                  <c:v>Harry's</c:v>
                </c:pt>
                <c:pt idx="2">
                  <c:v>Gillette</c:v>
                </c:pt>
                <c:pt idx="3">
                  <c:v>Gillette</c:v>
                </c:pt>
                <c:pt idx="4">
                  <c:v>Harry's</c:v>
                </c:pt>
              </c:strCache>
            </c:strRef>
          </c:cat>
          <c:val>
            <c:numRef>
              <c:f>Sheet1!$B$2:$B$6</c:f>
              <c:numCache>
                <c:formatCode>General</c:formatCode>
                <c:ptCount val="5"/>
                <c:pt idx="0">
                  <c:v>0.93</c:v>
                </c:pt>
                <c:pt idx="1">
                  <c:v>0.95</c:v>
                </c:pt>
                <c:pt idx="2">
                  <c:v>0.91</c:v>
                </c:pt>
                <c:pt idx="3">
                  <c:v>0.55000000000000004</c:v>
                </c:pt>
                <c:pt idx="4">
                  <c:v>0.6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Gillette</c:v>
                </c:pt>
                <c:pt idx="1">
                  <c:v>Harry's</c:v>
                </c:pt>
                <c:pt idx="2">
                  <c:v>Gillette</c:v>
                </c:pt>
                <c:pt idx="3">
                  <c:v>Gillette</c:v>
                </c:pt>
                <c:pt idx="4">
                  <c:v>Harry's</c:v>
                </c:pt>
              </c:strCache>
            </c:strRef>
          </c:cat>
          <c:val>
            <c:numRef>
              <c:f>Sheet1!$C$2:$C$6</c:f>
              <c:numCache>
                <c:formatCode>General</c:formatCode>
                <c:ptCount val="5"/>
                <c:pt idx="0">
                  <c:v>0.16108026992741747</c:v>
                </c:pt>
                <c:pt idx="1">
                  <c:v>0.30315545610119499</c:v>
                </c:pt>
                <c:pt idx="2">
                  <c:v>0.40955877189211232</c:v>
                </c:pt>
                <c:pt idx="3">
                  <c:v>0.49073444901101904</c:v>
                </c:pt>
                <c:pt idx="4">
                  <c:v>0.55986653420206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Gillette</c:v>
                </c:pt>
                <c:pt idx="1">
                  <c:v>Harry's</c:v>
                </c:pt>
                <c:pt idx="2">
                  <c:v>Gillette</c:v>
                </c:pt>
                <c:pt idx="3">
                  <c:v>Gillette</c:v>
                </c:pt>
                <c:pt idx="4">
                  <c:v>Harry's</c:v>
                </c:pt>
              </c:strCache>
            </c:strRef>
          </c:cat>
          <c:val>
            <c:numRef>
              <c:f>Sheet1!$D$2:$D$6</c:f>
              <c:numCache>
                <c:formatCode>General</c:formatCode>
                <c:ptCount val="5"/>
                <c:pt idx="0">
                  <c:v>17807.139784946237</c:v>
                </c:pt>
                <c:pt idx="1">
                  <c:v>15375.505263157895</c:v>
                </c:pt>
                <c:pt idx="2">
                  <c:v>12021.219780219781</c:v>
                </c:pt>
                <c:pt idx="3">
                  <c:v>15173.927272727271</c:v>
                </c:pt>
                <c:pt idx="4">
                  <c:v>10768.878787878788</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B$2:$B$11</c:f>
              <c:numCache>
                <c:formatCode>General</c:formatCode>
                <c:ptCount val="10"/>
                <c:pt idx="0">
                  <c:v>0.57279520332439515</c:v>
                </c:pt>
                <c:pt idx="1">
                  <c:v>0.21145741906350762</c:v>
                </c:pt>
                <c:pt idx="2">
                  <c:v>6.7557284837587397E-2</c:v>
                </c:pt>
                <c:pt idx="3">
                  <c:v>4.4717781070534597E-2</c:v>
                </c:pt>
                <c:pt idx="4">
                  <c:v>3.8719220420717626E-2</c:v>
                </c:pt>
                <c:pt idx="5">
                  <c:v>2.9552303786982627E-2</c:v>
                </c:pt>
                <c:pt idx="6">
                  <c:v>1.8920839671646029E-2</c:v>
                </c:pt>
                <c:pt idx="7">
                  <c:v>1.5826887485151132E-2</c:v>
                </c:pt>
                <c:pt idx="8">
                  <c:v>4.4367573645225848E-4</c:v>
                </c:pt>
                <c:pt idx="9">
                  <c:v>9.3846030255403877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C$2:$C$11</c:f>
              <c:numCache>
                <c:formatCode>General</c:formatCode>
                <c:ptCount val="10"/>
                <c:pt idx="0">
                  <c:v>0.49403014288510477</c:v>
                </c:pt>
                <c:pt idx="1">
                  <c:v>0.13740458015267176</c:v>
                </c:pt>
                <c:pt idx="2">
                  <c:v>0.12370326874143667</c:v>
                </c:pt>
                <c:pt idx="3">
                  <c:v>6.2438833431199846E-2</c:v>
                </c:pt>
                <c:pt idx="4">
                  <c:v>5.9307105108631818E-2</c:v>
                </c:pt>
                <c:pt idx="5">
                  <c:v>5.7545507927187309E-2</c:v>
                </c:pt>
                <c:pt idx="6">
                  <c:v>3.092581718535917E-2</c:v>
                </c:pt>
                <c:pt idx="7">
                  <c:v>3.0730084165198669E-2</c:v>
                </c:pt>
                <c:pt idx="8">
                  <c:v>3.9146604032100213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D$2:$D$11</c:f>
              <c:numCache>
                <c:formatCode>General</c:formatCode>
                <c:ptCount val="10"/>
                <c:pt idx="0">
                  <c:v>0.86249001391395586</c:v>
                </c:pt>
                <c:pt idx="1">
                  <c:v>0.64979786834248954</c:v>
                </c:pt>
                <c:pt idx="2">
                  <c:v>1.8310870402626198</c:v>
                </c:pt>
                <c:pt idx="3">
                  <c:v>1.3962864868610843</c:v>
                </c:pt>
                <c:pt idx="4">
                  <c:v>1.5317226035082607</c:v>
                </c:pt>
                <c:pt idx="5">
                  <c:v>1.9472427037155491</c:v>
                </c:pt>
                <c:pt idx="6">
                  <c:v>1.6344843950928507</c:v>
                </c:pt>
                <c:pt idx="7">
                  <c:v>1.9416378737783908</c:v>
                </c:pt>
                <c:pt idx="8">
                  <c:v>8.823246532507321</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Gillette</c:v>
                </c:pt>
                <c:pt idx="1">
                  <c:v>Harry's</c:v>
                </c:pt>
                <c:pt idx="2">
                  <c:v>Gillette</c:v>
                </c:pt>
                <c:pt idx="3">
                  <c:v>Harry's</c:v>
                </c:pt>
                <c:pt idx="4">
                  <c:v>Gillette</c:v>
                </c:pt>
              </c:strCache>
            </c:strRef>
          </c:cat>
          <c:val>
            <c:numRef>
              <c:f>Sheet1!$B$2:$B$6</c:f>
              <c:numCache>
                <c:formatCode>General</c:formatCode>
                <c:ptCount val="5"/>
                <c:pt idx="0">
                  <c:v>0.99</c:v>
                </c:pt>
                <c:pt idx="1">
                  <c:v>0.99</c:v>
                </c:pt>
                <c:pt idx="2">
                  <c:v>0.99</c:v>
                </c:pt>
                <c:pt idx="3">
                  <c:v>0.94</c:v>
                </c:pt>
                <c:pt idx="4">
                  <c:v>0.8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Gillette</c:v>
                </c:pt>
                <c:pt idx="1">
                  <c:v>Harry's</c:v>
                </c:pt>
                <c:pt idx="2">
                  <c:v>Gillette</c:v>
                </c:pt>
                <c:pt idx="3">
                  <c:v>Harry's</c:v>
                </c:pt>
                <c:pt idx="4">
                  <c:v>Gillette</c:v>
                </c:pt>
              </c:strCache>
            </c:strRef>
          </c:cat>
          <c:val>
            <c:numRef>
              <c:f>Sheet1!$C$2:$C$6</c:f>
              <c:numCache>
                <c:formatCode>General</c:formatCode>
                <c:ptCount val="5"/>
                <c:pt idx="0">
                  <c:v>0.13989729773451523</c:v>
                </c:pt>
                <c:pt idx="1">
                  <c:v>0.27546043823635602</c:v>
                </c:pt>
                <c:pt idx="2">
                  <c:v>0.36671832876351557</c:v>
                </c:pt>
                <c:pt idx="3">
                  <c:v>0.43589434976170849</c:v>
                </c:pt>
                <c:pt idx="4">
                  <c:v>0.5019405447890321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Gillette</c:v>
                </c:pt>
                <c:pt idx="1">
                  <c:v>Harry's</c:v>
                </c:pt>
                <c:pt idx="2">
                  <c:v>Gillette</c:v>
                </c:pt>
                <c:pt idx="3">
                  <c:v>Harry's</c:v>
                </c:pt>
                <c:pt idx="4">
                  <c:v>Gillette</c:v>
                </c:pt>
              </c:strCache>
            </c:strRef>
          </c:cat>
          <c:val>
            <c:numRef>
              <c:f>Sheet1!$D$2:$D$6</c:f>
              <c:numCache>
                <c:formatCode>General</c:formatCode>
                <c:ptCount val="5"/>
                <c:pt idx="0">
                  <c:v>239240.52525252526</c:v>
                </c:pt>
                <c:pt idx="1">
                  <c:v>231828.61616161617</c:v>
                </c:pt>
                <c:pt idx="2">
                  <c:v>156061.52525252526</c:v>
                </c:pt>
                <c:pt idx="3">
                  <c:v>124591.47872340426</c:v>
                </c:pt>
                <c:pt idx="4">
                  <c:v>127064.94318181818</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strCache>
            </c:strRef>
          </c:cat>
          <c:val>
            <c:numRef>
              <c:f>Sheet1!$B$2:$B$12</c:f>
              <c:numCache>
                <c:formatCode>General</c:formatCode>
                <c:ptCount val="11"/>
                <c:pt idx="0">
                  <c:v>0.98499999999999999</c:v>
                </c:pt>
                <c:pt idx="1">
                  <c:v>0.84499999999999997</c:v>
                </c:pt>
                <c:pt idx="2">
                  <c:v>0.98799999999999999</c:v>
                </c:pt>
                <c:pt idx="3">
                  <c:v>0.91100000000000003</c:v>
                </c:pt>
                <c:pt idx="4">
                  <c:v>0.95899999999999996</c:v>
                </c:pt>
                <c:pt idx="5">
                  <c:v>0.93799999999999994</c:v>
                </c:pt>
                <c:pt idx="6">
                  <c:v>0.751</c:v>
                </c:pt>
                <c:pt idx="7">
                  <c:v>0.58399999999999996</c:v>
                </c:pt>
                <c:pt idx="8">
                  <c:v>0.97799999999999998</c:v>
                </c:pt>
                <c:pt idx="9">
                  <c:v>0.68899999999999995</c:v>
                </c:pt>
                <c:pt idx="10">
                  <c:v>4.000000000000000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strCache>
            </c:strRef>
          </c:cat>
          <c:val>
            <c:numRef>
              <c:f>Sheet1!$C$2:$C$12</c:f>
              <c:numCache>
                <c:formatCode>General</c:formatCode>
                <c:ptCount val="11"/>
                <c:pt idx="0">
                  <c:v>0.25215022718965796</c:v>
                </c:pt>
                <c:pt idx="1">
                  <c:v>0.38414932130620655</c:v>
                </c:pt>
                <c:pt idx="2">
                  <c:v>0.4951100184273704</c:v>
                </c:pt>
                <c:pt idx="3">
                  <c:v>0.59930482289595366</c:v>
                </c:pt>
                <c:pt idx="4">
                  <c:v>0.70205538225248021</c:v>
                </c:pt>
                <c:pt idx="5">
                  <c:v>0.79580881687570648</c:v>
                </c:pt>
                <c:pt idx="6">
                  <c:v>0.86421088243056576</c:v>
                </c:pt>
                <c:pt idx="7">
                  <c:v>0.92904686016629912</c:v>
                </c:pt>
                <c:pt idx="8">
                  <c:v>0.97954738497312688</c:v>
                </c:pt>
                <c:pt idx="9">
                  <c:v>0.99986044716197975</c:v>
                </c:pt>
                <c:pt idx="10">
                  <c:v>0.9999560944415478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strCache>
            </c:strRef>
          </c:cat>
          <c:val>
            <c:numRef>
              <c:f>Sheet1!$D$2:$D$12</c:f>
              <c:numCache>
                <c:formatCode>General</c:formatCode>
                <c:ptCount val="11"/>
                <c:pt idx="0">
                  <c:v>88856.375634517768</c:v>
                </c:pt>
                <c:pt idx="1">
                  <c:v>54222.520710059172</c:v>
                </c:pt>
                <c:pt idx="2">
                  <c:v>38983.218623481785</c:v>
                </c:pt>
                <c:pt idx="3">
                  <c:v>39700.241492864981</c:v>
                </c:pt>
                <c:pt idx="4">
                  <c:v>37190.417101147032</c:v>
                </c:pt>
                <c:pt idx="5">
                  <c:v>34693.635394456294</c:v>
                </c:pt>
                <c:pt idx="6">
                  <c:v>31615.113182423436</c:v>
                </c:pt>
                <c:pt idx="7">
                  <c:v>38536.181506849316</c:v>
                </c:pt>
                <c:pt idx="8">
                  <c:v>17923.486707566462</c:v>
                </c:pt>
                <c:pt idx="9">
                  <c:v>10233.439767779391</c:v>
                </c:pt>
                <c:pt idx="10">
                  <c:v>83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PBG PL 2 BLADE DISPOSABLE NORMAL 52CT</c:v>
                </c:pt>
                <c:pt idx="1">
                  <c:v>EQUATE CALIBER 3 3 BLADE RAZOR NORMAL 13CT</c:v>
                </c:pt>
              </c:strCache>
            </c:strRef>
          </c:cat>
          <c:val>
            <c:numRef>
              <c:f>Sheet1!$B$2:$B$3</c:f>
              <c:numCache>
                <c:formatCode>General</c:formatCode>
                <c:ptCount val="2"/>
                <c:pt idx="0">
                  <c:v>0.57999999999999996</c:v>
                </c:pt>
                <c:pt idx="1">
                  <c:v>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PBG PL 2 BLADE DISPOSABLE NORMAL 52CT</c:v>
                </c:pt>
                <c:pt idx="1">
                  <c:v>EQUATE CALIBER 3 3 BLADE RAZOR NORMAL 13CT</c:v>
                </c:pt>
              </c:strCache>
            </c:strRef>
          </c:cat>
          <c:val>
            <c:numRef>
              <c:f>Sheet1!$C$2:$C$3</c:f>
              <c:numCache>
                <c:formatCode>General</c:formatCode>
                <c:ptCount val="2"/>
                <c:pt idx="0">
                  <c:v>0.67240337236342029</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PBG PL 2 BLADE DISPOSABLE NORMAL 52CT</c:v>
                </c:pt>
                <c:pt idx="1">
                  <c:v>EQUATE CALIBER 3 3 BLADE RAZOR NORMAL 13CT</c:v>
                </c:pt>
              </c:strCache>
            </c:strRef>
          </c:cat>
          <c:val>
            <c:numRef>
              <c:f>Sheet1!$D$2:$D$3</c:f>
              <c:numCache>
                <c:formatCode>General</c:formatCode>
                <c:ptCount val="2"/>
                <c:pt idx="0">
                  <c:v>1131.6896551724139</c:v>
                </c:pt>
                <c:pt idx="1">
                  <c:v>532.98333333333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B$2:$B$11</c:f>
              <c:numCache>
                <c:formatCode>General</c:formatCode>
                <c:ptCount val="10"/>
                <c:pt idx="0">
                  <c:v>0.98</c:v>
                </c:pt>
                <c:pt idx="1">
                  <c:v>0.99</c:v>
                </c:pt>
                <c:pt idx="2">
                  <c:v>0.83</c:v>
                </c:pt>
                <c:pt idx="3">
                  <c:v>0.9</c:v>
                </c:pt>
                <c:pt idx="4">
                  <c:v>0.95</c:v>
                </c:pt>
                <c:pt idx="5">
                  <c:v>0.94</c:v>
                </c:pt>
                <c:pt idx="6">
                  <c:v>0.7</c:v>
                </c:pt>
                <c:pt idx="7">
                  <c:v>0.54</c:v>
                </c:pt>
                <c:pt idx="8">
                  <c:v>0.97</c:v>
                </c:pt>
                <c:pt idx="9">
                  <c:v>0.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C$2:$C$11</c:f>
              <c:numCache>
                <c:formatCode>General</c:formatCode>
                <c:ptCount val="10"/>
                <c:pt idx="0">
                  <c:v>0.25408870138974388</c:v>
                </c:pt>
                <c:pt idx="1">
                  <c:v>0.38459715183326759</c:v>
                </c:pt>
                <c:pt idx="2">
                  <c:v>0.50351937793613022</c:v>
                </c:pt>
                <c:pt idx="3">
                  <c:v>0.61109240586585323</c:v>
                </c:pt>
                <c:pt idx="4">
                  <c:v>0.71019153891961295</c:v>
                </c:pt>
                <c:pt idx="5">
                  <c:v>0.80388262263172749</c:v>
                </c:pt>
                <c:pt idx="6">
                  <c:v>0.86815524125159871</c:v>
                </c:pt>
                <c:pt idx="7">
                  <c:v>0.92750935750832741</c:v>
                </c:pt>
                <c:pt idx="8">
                  <c:v>0.97905166081639194</c:v>
                </c:pt>
                <c:pt idx="9">
                  <c:v>0.9999564474886534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D$2:$D$11</c:f>
              <c:numCache>
                <c:formatCode>General</c:formatCode>
                <c:ptCount val="10"/>
                <c:pt idx="0">
                  <c:v>6191.2653061224491</c:v>
                </c:pt>
                <c:pt idx="1">
                  <c:v>3147.9191919191921</c:v>
                </c:pt>
                <c:pt idx="2">
                  <c:v>3421.4096385542171</c:v>
                </c:pt>
                <c:pt idx="3">
                  <c:v>2854.1777777777779</c:v>
                </c:pt>
                <c:pt idx="4">
                  <c:v>2490.9578947368423</c:v>
                </c:pt>
                <c:pt idx="5">
                  <c:v>2380.0744680851062</c:v>
                </c:pt>
                <c:pt idx="6">
                  <c:v>2192.542857142857</c:v>
                </c:pt>
                <c:pt idx="7">
                  <c:v>2624.6851851851852</c:v>
                </c:pt>
                <c:pt idx="8">
                  <c:v>1268.8556701030927</c:v>
                </c:pt>
                <c:pt idx="9">
                  <c:v>745.059701492537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strCache>
            </c:strRef>
          </c:cat>
          <c:val>
            <c:numRef>
              <c:f>Sheet1!$B$2:$B$12</c:f>
              <c:numCache>
                <c:formatCode>General</c:formatCode>
                <c:ptCount val="11"/>
                <c:pt idx="0">
                  <c:v>0.91</c:v>
                </c:pt>
                <c:pt idx="1">
                  <c:v>0.65</c:v>
                </c:pt>
                <c:pt idx="2">
                  <c:v>0.95</c:v>
                </c:pt>
                <c:pt idx="3">
                  <c:v>0.82</c:v>
                </c:pt>
                <c:pt idx="4">
                  <c:v>0.65</c:v>
                </c:pt>
                <c:pt idx="5">
                  <c:v>0.74</c:v>
                </c:pt>
                <c:pt idx="6">
                  <c:v>0.53</c:v>
                </c:pt>
                <c:pt idx="7">
                  <c:v>0.95</c:v>
                </c:pt>
                <c:pt idx="8">
                  <c:v>0.4</c:v>
                </c:pt>
                <c:pt idx="9">
                  <c:v>0.41</c:v>
                </c:pt>
                <c:pt idx="10">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strCache>
            </c:strRef>
          </c:cat>
          <c:val>
            <c:numRef>
              <c:f>Sheet1!$C$2:$C$12</c:f>
              <c:numCache>
                <c:formatCode>General</c:formatCode>
                <c:ptCount val="11"/>
                <c:pt idx="0">
                  <c:v>0.2257091772971006</c:v>
                </c:pt>
                <c:pt idx="1">
                  <c:v>0.36274844804064865</c:v>
                </c:pt>
                <c:pt idx="2">
                  <c:v>0.48777824002214221</c:v>
                </c:pt>
                <c:pt idx="3">
                  <c:v>0.588039896909066</c:v>
                </c:pt>
                <c:pt idx="4">
                  <c:v>0.68463767397876518</c:v>
                </c:pt>
                <c:pt idx="5">
                  <c:v>0.77705474976016931</c:v>
                </c:pt>
                <c:pt idx="6">
                  <c:v>0.85182002311601501</c:v>
                </c:pt>
                <c:pt idx="7">
                  <c:v>0.92190357734425532</c:v>
                </c:pt>
                <c:pt idx="8">
                  <c:v>0.97933995491266579</c:v>
                </c:pt>
                <c:pt idx="9">
                  <c:v>0.99944943563949618</c:v>
                </c:pt>
                <c:pt idx="10">
                  <c:v>0.9999355040974119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strCache>
            </c:strRef>
          </c:cat>
          <c:val>
            <c:numRef>
              <c:f>Sheet1!$D$2:$D$12</c:f>
              <c:numCache>
                <c:formatCode>General</c:formatCode>
                <c:ptCount val="11"/>
                <c:pt idx="0">
                  <c:v>5807.0109890109889</c:v>
                </c:pt>
                <c:pt idx="1">
                  <c:v>4936.0153846153844</c:v>
                </c:pt>
                <c:pt idx="2">
                  <c:v>3081.3052631578948</c:v>
                </c:pt>
                <c:pt idx="3">
                  <c:v>2862.6341463414633</c:v>
                </c:pt>
                <c:pt idx="4">
                  <c:v>3479.353846153846</c:v>
                </c:pt>
                <c:pt idx="5">
                  <c:v>2923.9189189189187</c:v>
                </c:pt>
                <c:pt idx="6">
                  <c:v>3302.6981132075471</c:v>
                </c:pt>
                <c:pt idx="7">
                  <c:v>1727.1789473684209</c:v>
                </c:pt>
                <c:pt idx="8">
                  <c:v>3361.8</c:v>
                </c:pt>
                <c:pt idx="9">
                  <c:v>1148.3170731707316</c:v>
                </c:pt>
                <c:pt idx="10">
                  <c:v>189.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B$2:$B$11</c:f>
              <c:numCache>
                <c:formatCode>General</c:formatCode>
                <c:ptCount val="10"/>
                <c:pt idx="0">
                  <c:v>0.99</c:v>
                </c:pt>
                <c:pt idx="1">
                  <c:v>0.86</c:v>
                </c:pt>
                <c:pt idx="2">
                  <c:v>0.99</c:v>
                </c:pt>
                <c:pt idx="3">
                  <c:v>0.93</c:v>
                </c:pt>
                <c:pt idx="4">
                  <c:v>0.97</c:v>
                </c:pt>
                <c:pt idx="5">
                  <c:v>0.95</c:v>
                </c:pt>
                <c:pt idx="6">
                  <c:v>0.77</c:v>
                </c:pt>
                <c:pt idx="7">
                  <c:v>0.6</c:v>
                </c:pt>
                <c:pt idx="8">
                  <c:v>0.98</c:v>
                </c:pt>
                <c:pt idx="9">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C$2:$C$11</c:f>
              <c:numCache>
                <c:formatCode>General</c:formatCode>
                <c:ptCount val="10"/>
                <c:pt idx="0">
                  <c:v>0.254060583800571</c:v>
                </c:pt>
                <c:pt idx="1">
                  <c:v>0.38670761651995117</c:v>
                </c:pt>
                <c:pt idx="2">
                  <c:v>0.49501277628885165</c:v>
                </c:pt>
                <c:pt idx="3">
                  <c:v>0.59953176121269403</c:v>
                </c:pt>
                <c:pt idx="4">
                  <c:v>0.70319822641209506</c:v>
                </c:pt>
                <c:pt idx="5">
                  <c:v>0.79663025235617813</c:v>
                </c:pt>
                <c:pt idx="6">
                  <c:v>0.86486431678298814</c:v>
                </c:pt>
                <c:pt idx="7">
                  <c:v>0.93071472805538014</c:v>
                </c:pt>
                <c:pt idx="8">
                  <c:v>0.97960306534873876</c:v>
                </c:pt>
                <c:pt idx="9">
                  <c:v>0.9998848964957336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D$2:$D$11</c:f>
              <c:numCache>
                <c:formatCode>General</c:formatCode>
                <c:ptCount val="10"/>
                <c:pt idx="0">
                  <c:v>76941.121212121216</c:v>
                </c:pt>
                <c:pt idx="1">
                  <c:v>46244.011627906977</c:v>
                </c:pt>
                <c:pt idx="2">
                  <c:v>32799.737373737371</c:v>
                </c:pt>
                <c:pt idx="3">
                  <c:v>33695.247311827959</c:v>
                </c:pt>
                <c:pt idx="4">
                  <c:v>32042.247422680412</c:v>
                </c:pt>
                <c:pt idx="5">
                  <c:v>29486.863157894735</c:v>
                </c:pt>
                <c:pt idx="6">
                  <c:v>26568.493506493505</c:v>
                </c:pt>
                <c:pt idx="7">
                  <c:v>32905.133333333331</c:v>
                </c:pt>
                <c:pt idx="8">
                  <c:v>14956.693877551021</c:v>
                </c:pt>
                <c:pt idx="9">
                  <c:v>8564.563380281690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84499999999999997</c:v>
                </c:pt>
                <c:pt idx="1">
                  <c:v>0.751</c:v>
                </c:pt>
                <c:pt idx="2">
                  <c:v>0.58399999999999996</c:v>
                </c:pt>
                <c:pt idx="3">
                  <c:v>0.6889999999999999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6219898148431166</c:v>
                </c:pt>
                <c:pt idx="1">
                  <c:v>0.70171096633902796</c:v>
                </c:pt>
                <c:pt idx="2">
                  <c:v>0.92873618248585987</c:v>
                </c:pt>
                <c:pt idx="3">
                  <c:v>0.9998630089035134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54222.520710059172</c:v>
                </c:pt>
                <c:pt idx="1">
                  <c:v>31615.113182423436</c:v>
                </c:pt>
                <c:pt idx="2">
                  <c:v>38536.181506849316</c:v>
                </c:pt>
                <c:pt idx="3">
                  <c:v>10233.43976777939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CALIBER 3 3 BLADE RAZOR NORMAL 13CT</c:v>
                </c:pt>
              </c:strCache>
            </c:strRef>
          </c:cat>
          <c:val>
            <c:numRef>
              <c:f>Sheet1!$B$2:$B$2</c:f>
              <c:numCache>
                <c:formatCode>General</c:formatCode>
                <c:ptCount val="1"/>
                <c:pt idx="0">
                  <c:v>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CALIBER 3 3 BLADE RAZOR NORMAL 13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CALIBER 3 3 BLADE RAZOR NORMAL 13CT</c:v>
                </c:pt>
              </c:strCache>
            </c:strRef>
          </c:cat>
          <c:val>
            <c:numRef>
              <c:f>Sheet1!$D$2:$D$2</c:f>
              <c:numCache>
                <c:formatCode>General</c:formatCode>
                <c:ptCount val="1"/>
                <c:pt idx="0">
                  <c:v>532.98333333333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83</c:v>
                </c:pt>
                <c:pt idx="1">
                  <c:v>0.7</c:v>
                </c:pt>
                <c:pt idx="2">
                  <c:v>0.54</c:v>
                </c:pt>
                <c:pt idx="3">
                  <c:v>0.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5132667413641026</c:v>
                </c:pt>
                <c:pt idx="1">
                  <c:v>0.69525035560747295</c:v>
                </c:pt>
                <c:pt idx="2">
                  <c:v>0.92050762470101166</c:v>
                </c:pt>
                <c:pt idx="3">
                  <c:v>0.9998442479001280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3421.4096385542171</c:v>
                </c:pt>
                <c:pt idx="1">
                  <c:v>2192.542857142857</c:v>
                </c:pt>
                <c:pt idx="2">
                  <c:v>2624.6851851851852</c:v>
                </c:pt>
                <c:pt idx="3">
                  <c:v>745.059701492537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65</c:v>
                </c:pt>
                <c:pt idx="1">
                  <c:v>0.53</c:v>
                </c:pt>
                <c:pt idx="2">
                  <c:v>0.4</c:v>
                </c:pt>
                <c:pt idx="3">
                  <c:v>0.4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7351642853664044</c:v>
                </c:pt>
                <c:pt idx="1">
                  <c:v>0.73185540703483465</c:v>
                </c:pt>
                <c:pt idx="2">
                  <c:v>0.93031726564448591</c:v>
                </c:pt>
                <c:pt idx="3">
                  <c:v>0.9998022347473548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4936.0153846153844</c:v>
                </c:pt>
                <c:pt idx="1">
                  <c:v>3302.6981132075471</c:v>
                </c:pt>
                <c:pt idx="2">
                  <c:v>3361.8</c:v>
                </c:pt>
                <c:pt idx="3">
                  <c:v>1148.317073170731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082386189050302</c:v>
                </c:pt>
                <c:pt idx="1">
                  <c:v>0.18453803758152043</c:v>
                </c:pt>
                <c:pt idx="2">
                  <c:v>0.15328221133792058</c:v>
                </c:pt>
                <c:pt idx="3">
                  <c:v>0.11808405065965208</c:v>
                </c:pt>
                <c:pt idx="4">
                  <c:v>3.2718385304039222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86964905514846</c:v>
                </c:pt>
                <c:pt idx="1">
                  <c:v>0.26535383725414563</c:v>
                </c:pt>
                <c:pt idx="2">
                  <c:v>0.13890763594292321</c:v>
                </c:pt>
                <c:pt idx="3">
                  <c:v>0.15860007713073654</c:v>
                </c:pt>
                <c:pt idx="4">
                  <c:v>2.844195912070959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5569241549891275</c:v>
                </c:pt>
                <c:pt idx="1">
                  <c:v>1.4379357271366044</c:v>
                </c:pt>
                <c:pt idx="2">
                  <c:v>0.90622150300723625</c:v>
                </c:pt>
                <c:pt idx="3">
                  <c:v>1.3431117601805669</c:v>
                </c:pt>
                <c:pt idx="4">
                  <c:v>8.69295928158114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86</c:v>
                </c:pt>
                <c:pt idx="1">
                  <c:v>0.77</c:v>
                </c:pt>
                <c:pt idx="2">
                  <c:v>0.6</c:v>
                </c:pt>
                <c:pt idx="3">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6210283494244953</c:v>
                </c:pt>
                <c:pt idx="1">
                  <c:v>0.69981003400192665</c:v>
                </c:pt>
                <c:pt idx="2">
                  <c:v>0.92921329397136521</c:v>
                </c:pt>
                <c:pt idx="3">
                  <c:v>0.9998691652615874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46244.011627906977</c:v>
                </c:pt>
                <c:pt idx="1">
                  <c:v>26568.493506493505</c:v>
                </c:pt>
                <c:pt idx="2">
                  <c:v>32905.133333333331</c:v>
                </c:pt>
                <c:pt idx="3">
                  <c:v>8564.563380281690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strCache>
            </c:strRef>
          </c:cat>
          <c:val>
            <c:numRef>
              <c:f>Sheet1!$B$2:$B$8</c:f>
              <c:numCache>
                <c:formatCode>General</c:formatCode>
                <c:ptCount val="7"/>
                <c:pt idx="0">
                  <c:v>0.98499999999999999</c:v>
                </c:pt>
                <c:pt idx="1">
                  <c:v>0.98799999999999999</c:v>
                </c:pt>
                <c:pt idx="2">
                  <c:v>0.91100000000000003</c:v>
                </c:pt>
                <c:pt idx="3">
                  <c:v>0.95899999999999996</c:v>
                </c:pt>
                <c:pt idx="4">
                  <c:v>0.93799999999999994</c:v>
                </c:pt>
                <c:pt idx="5">
                  <c:v>0.97799999999999998</c:v>
                </c:pt>
                <c:pt idx="6">
                  <c:v>4.000000000000000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strCache>
            </c:strRef>
          </c:cat>
          <c:val>
            <c:numRef>
              <c:f>Sheet1!$C$2:$C$8</c:f>
              <c:numCache>
                <c:formatCode>General</c:formatCode>
                <c:ptCount val="7"/>
                <c:pt idx="0">
                  <c:v>0.35294857038608318</c:v>
                </c:pt>
                <c:pt idx="1">
                  <c:v>0.50826637380214235</c:v>
                </c:pt>
                <c:pt idx="2">
                  <c:v>0.65411358436675093</c:v>
                </c:pt>
                <c:pt idx="3">
                  <c:v>0.79793920544770591</c:v>
                </c:pt>
                <c:pt idx="4">
                  <c:v>0.92917105515832965</c:v>
                </c:pt>
                <c:pt idx="5">
                  <c:v>0.99985942309269671</c:v>
                </c:pt>
                <c:pt idx="6">
                  <c:v>0.9999933058615568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strCache>
            </c:strRef>
          </c:cat>
          <c:val>
            <c:numRef>
              <c:f>Sheet1!$D$2:$D$8</c:f>
              <c:numCache>
                <c:formatCode>General</c:formatCode>
                <c:ptCount val="7"/>
                <c:pt idx="0">
                  <c:v>88856.375634517768</c:v>
                </c:pt>
                <c:pt idx="1">
                  <c:v>38983.218623481785</c:v>
                </c:pt>
                <c:pt idx="2">
                  <c:v>39700.241492864981</c:v>
                </c:pt>
                <c:pt idx="3">
                  <c:v>37190.417101147032</c:v>
                </c:pt>
                <c:pt idx="4">
                  <c:v>34693.635394456294</c:v>
                </c:pt>
                <c:pt idx="5">
                  <c:v>17923.486707566462</c:v>
                </c:pt>
                <c:pt idx="6">
                  <c:v>83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PBG PL 2 BLADE DISPOSABLE NORMAL 52CT</c:v>
                </c:pt>
              </c:strCache>
            </c:strRef>
          </c:cat>
          <c:val>
            <c:numRef>
              <c:f>Sheet1!$B$2:$B$2</c:f>
              <c:numCache>
                <c:formatCode>General</c:formatCode>
                <c:ptCount val="1"/>
                <c:pt idx="0">
                  <c:v>0.5799999999999999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PBG PL 2 BLADE DISPOSABLE NORMAL 52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PBG PL 2 BLADE DISPOSABLE NORMAL 52CT</c:v>
                </c:pt>
              </c:strCache>
            </c:strRef>
          </c:cat>
          <c:val>
            <c:numRef>
              <c:f>Sheet1!$D$2:$D$2</c:f>
              <c:numCache>
                <c:formatCode>General</c:formatCode>
                <c:ptCount val="1"/>
                <c:pt idx="0">
                  <c:v>1131.68965517241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strCache>
            </c:strRef>
          </c:cat>
          <c:val>
            <c:numRef>
              <c:f>Sheet1!$B$2:$B$7</c:f>
              <c:numCache>
                <c:formatCode>General</c:formatCode>
                <c:ptCount val="6"/>
                <c:pt idx="0">
                  <c:v>0.98</c:v>
                </c:pt>
                <c:pt idx="1">
                  <c:v>0.99</c:v>
                </c:pt>
                <c:pt idx="2">
                  <c:v>0.9</c:v>
                </c:pt>
                <c:pt idx="3">
                  <c:v>0.95</c:v>
                </c:pt>
                <c:pt idx="4">
                  <c:v>0.94</c:v>
                </c:pt>
                <c:pt idx="5">
                  <c:v>0.9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strCache>
            </c:strRef>
          </c:cat>
          <c:val>
            <c:numRef>
              <c:f>Sheet1!$C$2:$C$7</c:f>
              <c:numCache>
                <c:formatCode>General</c:formatCode>
                <c:ptCount val="6"/>
                <c:pt idx="0">
                  <c:v>0.34499240071029053</c:v>
                </c:pt>
                <c:pt idx="1">
                  <c:v>0.52219202975805656</c:v>
                </c:pt>
                <c:pt idx="2">
                  <c:v>0.66825077599181681</c:v>
                </c:pt>
                <c:pt idx="3">
                  <c:v>0.8028039758528519</c:v>
                </c:pt>
                <c:pt idx="4">
                  <c:v>0.93001432294109865</c:v>
                </c:pt>
                <c:pt idx="5">
                  <c:v>0.9999965884221282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strCache>
            </c:strRef>
          </c:cat>
          <c:val>
            <c:numRef>
              <c:f>Sheet1!$D$2:$D$7</c:f>
              <c:numCache>
                <c:formatCode>General</c:formatCode>
                <c:ptCount val="6"/>
                <c:pt idx="0">
                  <c:v>6191.2653061224491</c:v>
                </c:pt>
                <c:pt idx="1">
                  <c:v>3147.9191919191921</c:v>
                </c:pt>
                <c:pt idx="2">
                  <c:v>2854.1777777777779</c:v>
                </c:pt>
                <c:pt idx="3">
                  <c:v>2490.9578947368423</c:v>
                </c:pt>
                <c:pt idx="4">
                  <c:v>2380.0744680851062</c:v>
                </c:pt>
                <c:pt idx="5">
                  <c:v>1268.855670103092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strCache>
            </c:strRef>
          </c:cat>
          <c:val>
            <c:numRef>
              <c:f>Sheet1!$B$2:$B$8</c:f>
              <c:numCache>
                <c:formatCode>General</c:formatCode>
                <c:ptCount val="7"/>
                <c:pt idx="0">
                  <c:v>0.91</c:v>
                </c:pt>
                <c:pt idx="1">
                  <c:v>0.95</c:v>
                </c:pt>
                <c:pt idx="2">
                  <c:v>0.82</c:v>
                </c:pt>
                <c:pt idx="3">
                  <c:v>0.65</c:v>
                </c:pt>
                <c:pt idx="4">
                  <c:v>0.74</c:v>
                </c:pt>
                <c:pt idx="5">
                  <c:v>0.95</c:v>
                </c:pt>
                <c:pt idx="6">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strCache>
            </c:strRef>
          </c:cat>
          <c:val>
            <c:numRef>
              <c:f>Sheet1!$C$2:$C$8</c:f>
              <c:numCache>
                <c:formatCode>General</c:formatCode>
                <c:ptCount val="7"/>
                <c:pt idx="0">
                  <c:v>0.31763524223355327</c:v>
                </c:pt>
                <c:pt idx="1">
                  <c:v>0.49358674202648012</c:v>
                </c:pt>
                <c:pt idx="2">
                  <c:v>0.63468262502682338</c:v>
                </c:pt>
                <c:pt idx="3">
                  <c:v>0.77062241571760626</c:v>
                </c:pt>
                <c:pt idx="4">
                  <c:v>0.90067880333937822</c:v>
                </c:pt>
                <c:pt idx="5">
                  <c:v>0.99930574882052436</c:v>
                </c:pt>
                <c:pt idx="6">
                  <c:v>0.9999897815843713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strCache>
            </c:strRef>
          </c:cat>
          <c:val>
            <c:numRef>
              <c:f>Sheet1!$D$2:$D$8</c:f>
              <c:numCache>
                <c:formatCode>General</c:formatCode>
                <c:ptCount val="7"/>
                <c:pt idx="0">
                  <c:v>5807.0109890109889</c:v>
                </c:pt>
                <c:pt idx="1">
                  <c:v>3081.3052631578948</c:v>
                </c:pt>
                <c:pt idx="2">
                  <c:v>2862.6341463414633</c:v>
                </c:pt>
                <c:pt idx="3">
                  <c:v>3479.353846153846</c:v>
                </c:pt>
                <c:pt idx="4">
                  <c:v>2923.9189189189187</c:v>
                </c:pt>
                <c:pt idx="5">
                  <c:v>1727.1789473684209</c:v>
                </c:pt>
                <c:pt idx="6">
                  <c:v>189.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strCache>
            </c:strRef>
          </c:cat>
          <c:val>
            <c:numRef>
              <c:f>Sheet1!$B$2:$B$7</c:f>
              <c:numCache>
                <c:formatCode>General</c:formatCode>
                <c:ptCount val="6"/>
                <c:pt idx="0">
                  <c:v>0.99</c:v>
                </c:pt>
                <c:pt idx="1">
                  <c:v>0.99</c:v>
                </c:pt>
                <c:pt idx="2">
                  <c:v>0.93</c:v>
                </c:pt>
                <c:pt idx="3">
                  <c:v>0.97</c:v>
                </c:pt>
                <c:pt idx="4">
                  <c:v>0.95</c:v>
                </c:pt>
                <c:pt idx="5">
                  <c:v>0.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strCache>
            </c:strRef>
          </c:cat>
          <c:val>
            <c:numRef>
              <c:f>Sheet1!$C$2:$C$7</c:f>
              <c:numCache>
                <c:formatCode>General</c:formatCode>
                <c:ptCount val="6"/>
                <c:pt idx="0">
                  <c:v>0.35635164179590456</c:v>
                </c:pt>
                <c:pt idx="1">
                  <c:v>0.50826313047023974</c:v>
                </c:pt>
                <c:pt idx="2">
                  <c:v>0.65486403691265394</c:v>
                </c:pt>
                <c:pt idx="3">
                  <c:v>0.8002691781603124</c:v>
                </c:pt>
                <c:pt idx="4">
                  <c:v>0.93131924245374376</c:v>
                </c:pt>
                <c:pt idx="5">
                  <c:v>0.999891230278645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strCache>
            </c:strRef>
          </c:cat>
          <c:val>
            <c:numRef>
              <c:f>Sheet1!$D$2:$D$7</c:f>
              <c:numCache>
                <c:formatCode>General</c:formatCode>
                <c:ptCount val="6"/>
                <c:pt idx="0">
                  <c:v>76941.121212121216</c:v>
                </c:pt>
                <c:pt idx="1">
                  <c:v>32799.737373737371</c:v>
                </c:pt>
                <c:pt idx="2">
                  <c:v>33695.247311827959</c:v>
                </c:pt>
                <c:pt idx="3">
                  <c:v>32042.247422680412</c:v>
                </c:pt>
                <c:pt idx="4">
                  <c:v>29486.863157894735</c:v>
                </c:pt>
                <c:pt idx="5">
                  <c:v>14956.6938775510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75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410386049734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31615.1131824234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CALIBER 3 3 BLADE RAZOR NORMAL 13CT</c:v>
                </c:pt>
              </c:strCache>
            </c:strRef>
          </c:cat>
          <c:val>
            <c:numRef>
              <c:f>Sheet1!$B$2:$B$2</c:f>
              <c:numCache>
                <c:formatCode>General</c:formatCode>
                <c:ptCount val="1"/>
                <c:pt idx="0">
                  <c:v>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CALIBER 3 3 BLADE RAZOR NORMAL 13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CALIBER 3 3 BLADE RAZOR NORMAL 13CT</c:v>
                </c:pt>
              </c:strCache>
            </c:strRef>
          </c:cat>
          <c:val>
            <c:numRef>
              <c:f>Sheet1!$D$2:$D$2</c:f>
              <c:numCache>
                <c:formatCode>General</c:formatCode>
                <c:ptCount val="1"/>
                <c:pt idx="0">
                  <c:v>532.98333333333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8696898618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2192.5428571428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5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25738049538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3302.698113207547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B$2:$B$5</c:f>
              <c:numCache>
                <c:formatCode>General</c:formatCode>
                <c:ptCount val="4"/>
                <c:pt idx="0">
                  <c:v>0.64685757162682911</c:v>
                </c:pt>
                <c:pt idx="1">
                  <c:v>0.30061391144213834</c:v>
                </c:pt>
                <c:pt idx="2">
                  <c:v>4.4594999991539257E-2</c:v>
                </c:pt>
                <c:pt idx="3">
                  <c:v>7.933516939493366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C$2:$C$5</c:f>
              <c:numCache>
                <c:formatCode>General</c:formatCode>
                <c:ptCount val="4"/>
                <c:pt idx="0">
                  <c:v>0.36050724637681159</c:v>
                </c:pt>
                <c:pt idx="1">
                  <c:v>0.38949275362318836</c:v>
                </c:pt>
                <c:pt idx="2">
                  <c:v>0.14492753623188406</c:v>
                </c:pt>
                <c:pt idx="3">
                  <c:v>0.105072463768115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D$2:$D$5</c:f>
              <c:numCache>
                <c:formatCode>General</c:formatCode>
                <c:ptCount val="4"/>
                <c:pt idx="0">
                  <c:v>0.55732090368849774</c:v>
                </c:pt>
                <c:pt idx="1">
                  <c:v>1.2956577816198545</c:v>
                </c:pt>
                <c:pt idx="2">
                  <c:v>3.2498606628406841</c:v>
                </c:pt>
                <c:pt idx="3">
                  <c:v>13.2441216889650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7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389021647695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26568.4935064935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84499999999999997</c:v>
                </c:pt>
                <c:pt idx="1">
                  <c:v>0.58399999999999996</c:v>
                </c:pt>
                <c:pt idx="2">
                  <c:v>0.6889999999999999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6077775793918726</c:v>
                </c:pt>
                <c:pt idx="1">
                  <c:v>0.90630882212097752</c:v>
                </c:pt>
                <c:pt idx="2">
                  <c:v>0.9998384319247903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54222.520710059172</c:v>
                </c:pt>
                <c:pt idx="1">
                  <c:v>38536.181506849316</c:v>
                </c:pt>
                <c:pt idx="2">
                  <c:v>10233.43976777939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83</c:v>
                </c:pt>
                <c:pt idx="1">
                  <c:v>0.54</c:v>
                </c:pt>
                <c:pt idx="2">
                  <c:v>0.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59693520416206847</c:v>
                </c:pt>
                <c:pt idx="1">
                  <c:v>0.89486573125229918</c:v>
                </c:pt>
                <c:pt idx="2">
                  <c:v>0.9997982027431815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3421.4096385542171</c:v>
                </c:pt>
                <c:pt idx="1">
                  <c:v>2624.6851851851852</c:v>
                </c:pt>
                <c:pt idx="2">
                  <c:v>745.059701492537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65</c:v>
                </c:pt>
                <c:pt idx="1">
                  <c:v>0.4</c:v>
                </c:pt>
                <c:pt idx="2">
                  <c:v>0.4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63847049341810691</c:v>
                </c:pt>
                <c:pt idx="1">
                  <c:v>0.90606847556789349</c:v>
                </c:pt>
                <c:pt idx="2">
                  <c:v>0.9997592111678258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4936.0153846153844</c:v>
                </c:pt>
                <c:pt idx="1">
                  <c:v>3361.8</c:v>
                </c:pt>
                <c:pt idx="2">
                  <c:v>1148.317073170731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86</c:v>
                </c:pt>
                <c:pt idx="1">
                  <c:v>0.6</c:v>
                </c:pt>
                <c:pt idx="2">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60621278225126662</c:v>
                </c:pt>
                <c:pt idx="1">
                  <c:v>0.90715702662255127</c:v>
                </c:pt>
                <c:pt idx="2">
                  <c:v>0.9998474173286965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46244.011627906977</c:v>
                </c:pt>
                <c:pt idx="1">
                  <c:v>32905.133333333331</c:v>
                </c:pt>
                <c:pt idx="2">
                  <c:v>8564.563380281690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pt idx="15">
                  <c:v>HYDRO 5 DRY SKIN 5 BLADE RAZOR DRY 2CT</c:v>
                </c:pt>
              </c:strCache>
            </c:strRef>
          </c:cat>
          <c:val>
            <c:numRef>
              <c:f>Sheet1!$B$2:$B$17</c:f>
              <c:numCache>
                <c:formatCode>General</c:formatCode>
                <c:ptCount val="16"/>
                <c:pt idx="0">
                  <c:v>0.78500000000000003</c:v>
                </c:pt>
                <c:pt idx="1">
                  <c:v>0.93899999999999995</c:v>
                </c:pt>
                <c:pt idx="2">
                  <c:v>0.85699999999999998</c:v>
                </c:pt>
                <c:pt idx="3">
                  <c:v>0.85199999999999998</c:v>
                </c:pt>
                <c:pt idx="4">
                  <c:v>0.95</c:v>
                </c:pt>
                <c:pt idx="5">
                  <c:v>0.44800000000000001</c:v>
                </c:pt>
                <c:pt idx="6">
                  <c:v>0.70099999999999996</c:v>
                </c:pt>
                <c:pt idx="7">
                  <c:v>0.79300000000000004</c:v>
                </c:pt>
                <c:pt idx="8">
                  <c:v>0.75900000000000001</c:v>
                </c:pt>
                <c:pt idx="9">
                  <c:v>0.84399999999999997</c:v>
                </c:pt>
                <c:pt idx="10">
                  <c:v>0.89600000000000002</c:v>
                </c:pt>
                <c:pt idx="11">
                  <c:v>0.63400000000000001</c:v>
                </c:pt>
                <c:pt idx="12">
                  <c:v>5.6000000000000001E-2</c:v>
                </c:pt>
                <c:pt idx="13">
                  <c:v>4.5999999999999999E-2</c:v>
                </c:pt>
                <c:pt idx="14">
                  <c:v>0.01</c:v>
                </c:pt>
                <c:pt idx="15">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pt idx="15">
                  <c:v>HYDRO 5 DRY SKIN 5 BLADE RAZOR DRY 2CT</c:v>
                </c:pt>
              </c:strCache>
            </c:strRef>
          </c:cat>
          <c:val>
            <c:numRef>
              <c:f>Sheet1!$C$2:$C$17</c:f>
              <c:numCache>
                <c:formatCode>General</c:formatCode>
                <c:ptCount val="16"/>
                <c:pt idx="0">
                  <c:v>0.15966382484115493</c:v>
                </c:pt>
                <c:pt idx="1">
                  <c:v>0.306382780693084</c:v>
                </c:pt>
                <c:pt idx="2">
                  <c:v>0.4371406912688775</c:v>
                </c:pt>
                <c:pt idx="3">
                  <c:v>0.56119110434827035</c:v>
                </c:pt>
                <c:pt idx="4">
                  <c:v>0.68157667423771617</c:v>
                </c:pt>
                <c:pt idx="5">
                  <c:v>0.78274811709632242</c:v>
                </c:pt>
                <c:pt idx="6">
                  <c:v>0.87207280070553383</c:v>
                </c:pt>
                <c:pt idx="7">
                  <c:v>0.9125615558234661</c:v>
                </c:pt>
                <c:pt idx="8">
                  <c:v>0.94626837187489921</c:v>
                </c:pt>
                <c:pt idx="9">
                  <c:v>0.96333257881378664</c:v>
                </c:pt>
                <c:pt idx="10">
                  <c:v>0.97933457438277471</c:v>
                </c:pt>
                <c:pt idx="11">
                  <c:v>0.9930156274103431</c:v>
                </c:pt>
                <c:pt idx="12">
                  <c:v>0.99657975903100326</c:v>
                </c:pt>
                <c:pt idx="13">
                  <c:v>0.99958532627977925</c:v>
                </c:pt>
                <c:pt idx="14">
                  <c:v>0.99975305012075144</c:v>
                </c:pt>
                <c:pt idx="15">
                  <c:v>0.9998423502876758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7</c:f>
              <c:strCache>
                <c:ptCount val="16"/>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pt idx="15">
                  <c:v>HYDRO 5 DRY SKIN 5 BLADE RAZOR DRY 2CT</c:v>
                </c:pt>
              </c:strCache>
            </c:strRef>
          </c:cat>
          <c:val>
            <c:numRef>
              <c:f>Sheet1!$D$2:$D$17</c:f>
              <c:numCache>
                <c:formatCode>General</c:formatCode>
                <c:ptCount val="16"/>
                <c:pt idx="0">
                  <c:v>68443.006369426745</c:v>
                </c:pt>
                <c:pt idx="1">
                  <c:v>52579.062832800853</c:v>
                </c:pt>
                <c:pt idx="2">
                  <c:v>51342.777129521586</c:v>
                </c:pt>
                <c:pt idx="3">
                  <c:v>48994.894366197179</c:v>
                </c:pt>
                <c:pt idx="4">
                  <c:v>42642.536842105263</c:v>
                </c:pt>
                <c:pt idx="5">
                  <c:v>75992.745535714275</c:v>
                </c:pt>
                <c:pt idx="6">
                  <c:v>42879.101283880176</c:v>
                </c:pt>
                <c:pt idx="7">
                  <c:v>17181.197982345522</c:v>
                </c:pt>
                <c:pt idx="8">
                  <c:v>14944.044795783924</c:v>
                </c:pt>
                <c:pt idx="9">
                  <c:v>6803.5545023696686</c:v>
                </c:pt>
                <c:pt idx="10">
                  <c:v>6009.7767857142853</c:v>
                </c:pt>
                <c:pt idx="11">
                  <c:v>7261.4353312302837</c:v>
                </c:pt>
                <c:pt idx="12">
                  <c:v>21416.964285714283</c:v>
                </c:pt>
                <c:pt idx="13">
                  <c:v>21986.739130434784</c:v>
                </c:pt>
                <c:pt idx="14">
                  <c:v>5644</c:v>
                </c:pt>
                <c:pt idx="15">
                  <c:v>125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strCache>
            </c:strRef>
          </c:cat>
          <c:val>
            <c:numRef>
              <c:f>Sheet1!$B$2:$B$12</c:f>
              <c:numCache>
                <c:formatCode>General</c:formatCode>
                <c:ptCount val="11"/>
                <c:pt idx="0">
                  <c:v>0.98499999999999999</c:v>
                </c:pt>
                <c:pt idx="1">
                  <c:v>0.84499999999999997</c:v>
                </c:pt>
                <c:pt idx="2">
                  <c:v>0.98799999999999999</c:v>
                </c:pt>
                <c:pt idx="3">
                  <c:v>0.91100000000000003</c:v>
                </c:pt>
                <c:pt idx="4">
                  <c:v>0.95899999999999996</c:v>
                </c:pt>
                <c:pt idx="5">
                  <c:v>0.93799999999999994</c:v>
                </c:pt>
                <c:pt idx="6">
                  <c:v>0.751</c:v>
                </c:pt>
                <c:pt idx="7">
                  <c:v>0.58399999999999996</c:v>
                </c:pt>
                <c:pt idx="8">
                  <c:v>0.97799999999999998</c:v>
                </c:pt>
                <c:pt idx="9">
                  <c:v>0.68899999999999995</c:v>
                </c:pt>
                <c:pt idx="10">
                  <c:v>4.000000000000000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strCache>
            </c:strRef>
          </c:cat>
          <c:val>
            <c:numRef>
              <c:f>Sheet1!$C$2:$C$12</c:f>
              <c:numCache>
                <c:formatCode>General</c:formatCode>
                <c:ptCount val="11"/>
                <c:pt idx="0">
                  <c:v>0.25215031436131435</c:v>
                </c:pt>
                <c:pt idx="1">
                  <c:v>0.38414945411168927</c:v>
                </c:pt>
                <c:pt idx="2">
                  <c:v>0.49511018959342834</c:v>
                </c:pt>
                <c:pt idx="3">
                  <c:v>0.59930503008352864</c:v>
                </c:pt>
                <c:pt idx="4">
                  <c:v>0.70205562496227769</c:v>
                </c:pt>
                <c:pt idx="5">
                  <c:v>0.79580909199730177</c:v>
                </c:pt>
                <c:pt idx="6">
                  <c:v>0.86421118119965645</c:v>
                </c:pt>
                <c:pt idx="7">
                  <c:v>0.92904718135004172</c:v>
                </c:pt>
                <c:pt idx="8">
                  <c:v>0.97954772361556641</c:v>
                </c:pt>
                <c:pt idx="9">
                  <c:v>0.99986079282691254</c:v>
                </c:pt>
                <c:pt idx="10">
                  <c:v>0.9999564401395472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strCache>
            </c:strRef>
          </c:cat>
          <c:val>
            <c:numRef>
              <c:f>Sheet1!$D$2:$D$12</c:f>
              <c:numCache>
                <c:formatCode>General</c:formatCode>
                <c:ptCount val="11"/>
                <c:pt idx="0">
                  <c:v>88856.375634517768</c:v>
                </c:pt>
                <c:pt idx="1">
                  <c:v>54222.520710059172</c:v>
                </c:pt>
                <c:pt idx="2">
                  <c:v>38983.218623481785</c:v>
                </c:pt>
                <c:pt idx="3">
                  <c:v>39700.241492864981</c:v>
                </c:pt>
                <c:pt idx="4">
                  <c:v>37190.417101147032</c:v>
                </c:pt>
                <c:pt idx="5">
                  <c:v>34693.635394456294</c:v>
                </c:pt>
                <c:pt idx="6">
                  <c:v>31615.113182423436</c:v>
                </c:pt>
                <c:pt idx="7">
                  <c:v>38536.181506849316</c:v>
                </c:pt>
                <c:pt idx="8">
                  <c:v>17923.486707566462</c:v>
                </c:pt>
                <c:pt idx="9">
                  <c:v>10233.439767779391</c:v>
                </c:pt>
                <c:pt idx="10">
                  <c:v>83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11700000000000001</c:v>
                </c:pt>
                <c:pt idx="1">
                  <c:v>6.4000000000000001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7131193799616251</c:v>
                </c:pt>
                <c:pt idx="1">
                  <c:v>0.996395650701681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7625.1282051282042</c:v>
                </c:pt>
                <c:pt idx="1">
                  <c:v>675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B$2:$B$4</c:f>
              <c:numCache>
                <c:formatCode>General</c:formatCode>
                <c:ptCount val="3"/>
                <c:pt idx="0">
                  <c:v>0.99</c:v>
                </c:pt>
                <c:pt idx="1">
                  <c:v>0.86</c:v>
                </c:pt>
                <c:pt idx="2">
                  <c:v>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C$2:$C$4</c:f>
              <c:numCache>
                <c:formatCode>General</c:formatCode>
                <c:ptCount val="3"/>
                <c:pt idx="0">
                  <c:v>0.89445951982424732</c:v>
                </c:pt>
                <c:pt idx="1">
                  <c:v>0.9910877231637578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D$2:$D$4</c:f>
              <c:numCache>
                <c:formatCode>General</c:formatCode>
                <c:ptCount val="3"/>
                <c:pt idx="0">
                  <c:v>22471.090909090908</c:v>
                </c:pt>
                <c:pt idx="1">
                  <c:v>2794.5</c:v>
                </c:pt>
                <c:pt idx="2">
                  <c:v>738.8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0.97</c:v>
                </c:pt>
                <c:pt idx="1">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C$2:$C$3</c:f>
              <c:numCache>
                <c:formatCode>General</c:formatCode>
                <c:ptCount val="2"/>
                <c:pt idx="0">
                  <c:v>0.9480467648787323</c:v>
                </c:pt>
                <c:pt idx="1">
                  <c:v>0.9994980015753439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SCHICK XTREME 3 SENSITIVE BLACK GREEN 3 BLADE DISPOSABLE SENSITIVE 20CT</c:v>
                </c:pt>
                <c:pt idx="1">
                  <c:v>SCHICK XTREME 3 SENSITIVE BLACK 3 BLADE DISPOSABLE SENSITIVE 20CT</c:v>
                </c:pt>
              </c:strCache>
            </c:strRef>
          </c:cat>
          <c:val>
            <c:numRef>
              <c:f>Sheet1!$D$2:$D$3</c:f>
              <c:numCache>
                <c:formatCode>General</c:formatCode>
                <c:ptCount val="2"/>
                <c:pt idx="0">
                  <c:v>90903.278350515466</c:v>
                </c:pt>
                <c:pt idx="1">
                  <c:v>6739.985915492958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8060561431334312</c:v>
                </c:pt>
                <c:pt idx="1">
                  <c:v>0.40033726926049551</c:v>
                </c:pt>
                <c:pt idx="2">
                  <c:v>1.905711642616137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38194444444444448</c:v>
                </c:pt>
                <c:pt idx="1">
                  <c:v>0.58333333333333337</c:v>
                </c:pt>
                <c:pt idx="2">
                  <c:v>3.47222222222222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65783801435704936</c:v>
                </c:pt>
                <c:pt idx="1">
                  <c:v>1.4571047417365584</c:v>
                </c:pt>
                <c:pt idx="2">
                  <c:v>1.82200819083814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SCHICK XTREME 2 SENSITIVE 2 BLADE DISPOSABLE NORMAL 12CT</c:v>
                </c:pt>
                <c:pt idx="1">
                  <c:v>HYDRO 5 SENSITIVE 5 BLADE REFILL SENSITIVE 6CT</c:v>
                </c:pt>
                <c:pt idx="2">
                  <c:v>SCHICK XTREME 3 SENSITIVE GREEN 3 BLADE DISPOSABLE SENSITIVE 8CT</c:v>
                </c:pt>
                <c:pt idx="3">
                  <c:v>SCHICK XTREME 3 SENSITIVE BLACK 3 BLADE DISPOSABLE SENSITIVE 4CT</c:v>
                </c:pt>
                <c:pt idx="4">
                  <c:v>HYDRO 5 SENSITIVE 5 BLADE RAZOR SENSITIVE 3CT</c:v>
                </c:pt>
                <c:pt idx="5">
                  <c:v>SCHICK XTREME 3 SENSITIVE BLACK GREEN 3 BLADE DISPOSABLE SENSITIVE 12CT</c:v>
                </c:pt>
                <c:pt idx="6">
                  <c:v>HYDRO 5 SENSITIVE 5 BLADE REFILL SENSITIVE 12CT</c:v>
                </c:pt>
                <c:pt idx="7">
                  <c:v>SCHICK XTREME 3 SENSITIVE GREEN BLACK 3 BLADE DISPOSABLE SENSITIVE 8CT</c:v>
                </c:pt>
                <c:pt idx="8">
                  <c:v>SCHICK XTREME 3 SENSITIVE GREEN BLACK 3 BLADE DISPOSABLE SENSITIVE 12CT</c:v>
                </c:pt>
                <c:pt idx="9">
                  <c:v>SCHICK XTREME 3 SENSITIVE GREEN BLACK 3 BLADE DISPOSABLE SENSITIVE 4CT</c:v>
                </c:pt>
                <c:pt idx="10">
                  <c:v>SCHICK HYDRO 3 SENSITIVE 3 BLADE RAZOR SENSITIVE 4CT</c:v>
                </c:pt>
                <c:pt idx="11">
                  <c:v>HYDRO 5 SENSITIVE GRAY HOLIDAY GIFT PACK 5 BLADE RAZOR SENSITIVE 3CT</c:v>
                </c:pt>
                <c:pt idx="12">
                  <c:v>SCHICK HYDRO 3 SENSITIVE 3 BLADE REFILL SENSITIVE 5CT</c:v>
                </c:pt>
                <c:pt idx="13">
                  <c:v>SCHICK XTREME 3 SENSITIVE GREEN HOLIDAY GIFT PACK 3 BLADE DISPOSABLE SENSITIVE 8CT</c:v>
                </c:pt>
                <c:pt idx="14">
                  <c:v>HYDRO 5 SENSITIVE 5 BLADE REFILL SENSITIVE 4CT</c:v>
                </c:pt>
                <c:pt idx="15">
                  <c:v>HYDRO 5 DRY SKIN 5 BLADE RAZOR DRY 2CT</c:v>
                </c:pt>
              </c:strCache>
            </c:strRef>
          </c:cat>
          <c:val>
            <c:numRef>
              <c:f>Sheet1!$B$2:$B$17</c:f>
              <c:numCache>
                <c:formatCode>General</c:formatCode>
                <c:ptCount val="16"/>
                <c:pt idx="0">
                  <c:v>0.94</c:v>
                </c:pt>
                <c:pt idx="1">
                  <c:v>0.79</c:v>
                </c:pt>
                <c:pt idx="2">
                  <c:v>0.87</c:v>
                </c:pt>
                <c:pt idx="3">
                  <c:v>0.95</c:v>
                </c:pt>
                <c:pt idx="4">
                  <c:v>0.83</c:v>
                </c:pt>
                <c:pt idx="5">
                  <c:v>0.68</c:v>
                </c:pt>
                <c:pt idx="6">
                  <c:v>0.31</c:v>
                </c:pt>
                <c:pt idx="7">
                  <c:v>0.84</c:v>
                </c:pt>
                <c:pt idx="8">
                  <c:v>0.64</c:v>
                </c:pt>
                <c:pt idx="9">
                  <c:v>0.88</c:v>
                </c:pt>
                <c:pt idx="10">
                  <c:v>0.05</c:v>
                </c:pt>
                <c:pt idx="11">
                  <c:v>0.04</c:v>
                </c:pt>
                <c:pt idx="12">
                  <c:v>0.04</c:v>
                </c:pt>
                <c:pt idx="13">
                  <c:v>0.04</c:v>
                </c:pt>
                <c:pt idx="14">
                  <c:v>0.01</c:v>
                </c:pt>
                <c:pt idx="15">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SCHICK XTREME 2 SENSITIVE 2 BLADE DISPOSABLE NORMAL 12CT</c:v>
                </c:pt>
                <c:pt idx="1">
                  <c:v>HYDRO 5 SENSITIVE 5 BLADE REFILL SENSITIVE 6CT</c:v>
                </c:pt>
                <c:pt idx="2">
                  <c:v>SCHICK XTREME 3 SENSITIVE GREEN 3 BLADE DISPOSABLE SENSITIVE 8CT</c:v>
                </c:pt>
                <c:pt idx="3">
                  <c:v>SCHICK XTREME 3 SENSITIVE BLACK 3 BLADE DISPOSABLE SENSITIVE 4CT</c:v>
                </c:pt>
                <c:pt idx="4">
                  <c:v>HYDRO 5 SENSITIVE 5 BLADE RAZOR SENSITIVE 3CT</c:v>
                </c:pt>
                <c:pt idx="5">
                  <c:v>SCHICK XTREME 3 SENSITIVE BLACK GREEN 3 BLADE DISPOSABLE SENSITIVE 12CT</c:v>
                </c:pt>
                <c:pt idx="6">
                  <c:v>HYDRO 5 SENSITIVE 5 BLADE REFILL SENSITIVE 12CT</c:v>
                </c:pt>
                <c:pt idx="7">
                  <c:v>SCHICK XTREME 3 SENSITIVE GREEN BLACK 3 BLADE DISPOSABLE SENSITIVE 8CT</c:v>
                </c:pt>
                <c:pt idx="8">
                  <c:v>SCHICK XTREME 3 SENSITIVE GREEN BLACK 3 BLADE DISPOSABLE SENSITIVE 12CT</c:v>
                </c:pt>
                <c:pt idx="9">
                  <c:v>SCHICK XTREME 3 SENSITIVE GREEN BLACK 3 BLADE DISPOSABLE SENSITIVE 4CT</c:v>
                </c:pt>
                <c:pt idx="10">
                  <c:v>SCHICK HYDRO 3 SENSITIVE 3 BLADE RAZOR SENSITIVE 4CT</c:v>
                </c:pt>
                <c:pt idx="11">
                  <c:v>HYDRO 5 SENSITIVE GRAY HOLIDAY GIFT PACK 5 BLADE RAZOR SENSITIVE 3CT</c:v>
                </c:pt>
                <c:pt idx="12">
                  <c:v>SCHICK HYDRO 3 SENSITIVE 3 BLADE REFILL SENSITIVE 5CT</c:v>
                </c:pt>
                <c:pt idx="13">
                  <c:v>SCHICK XTREME 3 SENSITIVE GREEN HOLIDAY GIFT PACK 3 BLADE DISPOSABLE SENSITIVE 8CT</c:v>
                </c:pt>
                <c:pt idx="14">
                  <c:v>HYDRO 5 SENSITIVE 5 BLADE REFILL SENSITIVE 4CT</c:v>
                </c:pt>
                <c:pt idx="15">
                  <c:v>HYDRO 5 DRY SKIN 5 BLADE RAZOR DRY 2CT</c:v>
                </c:pt>
              </c:strCache>
            </c:strRef>
          </c:cat>
          <c:val>
            <c:numRef>
              <c:f>Sheet1!$C$2:$C$17</c:f>
              <c:numCache>
                <c:formatCode>General</c:formatCode>
                <c:ptCount val="16"/>
                <c:pt idx="0">
                  <c:v>0.18557864857517783</c:v>
                </c:pt>
                <c:pt idx="1">
                  <c:v>0.34825122532085928</c:v>
                </c:pt>
                <c:pt idx="2">
                  <c:v>0.5032733926328119</c:v>
                </c:pt>
                <c:pt idx="3">
                  <c:v>0.63337957356034391</c:v>
                </c:pt>
                <c:pt idx="4">
                  <c:v>0.7621247384311377</c:v>
                </c:pt>
                <c:pt idx="5">
                  <c:v>0.86570375006434797</c:v>
                </c:pt>
                <c:pt idx="6">
                  <c:v>0.93955174073682723</c:v>
                </c:pt>
                <c:pt idx="7">
                  <c:v>0.95874775685226887</c:v>
                </c:pt>
                <c:pt idx="8">
                  <c:v>0.97535540401043663</c:v>
                </c:pt>
                <c:pt idx="9">
                  <c:v>0.99177790963467516</c:v>
                </c:pt>
                <c:pt idx="10">
                  <c:v>0.99403392696031023</c:v>
                </c:pt>
                <c:pt idx="11">
                  <c:v>0.99601132885561772</c:v>
                </c:pt>
                <c:pt idx="12">
                  <c:v>0.99791828665508864</c:v>
                </c:pt>
                <c:pt idx="13">
                  <c:v>0.99949695690537288</c:v>
                </c:pt>
                <c:pt idx="14">
                  <c:v>0.99969835476911051</c:v>
                </c:pt>
                <c:pt idx="15">
                  <c:v>0.999794086489093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7</c:f>
              <c:strCache>
                <c:ptCount val="16"/>
                <c:pt idx="0">
                  <c:v>SCHICK XTREME 2 SENSITIVE 2 BLADE DISPOSABLE NORMAL 12CT</c:v>
                </c:pt>
                <c:pt idx="1">
                  <c:v>HYDRO 5 SENSITIVE 5 BLADE REFILL SENSITIVE 6CT</c:v>
                </c:pt>
                <c:pt idx="2">
                  <c:v>SCHICK XTREME 3 SENSITIVE GREEN 3 BLADE DISPOSABLE SENSITIVE 8CT</c:v>
                </c:pt>
                <c:pt idx="3">
                  <c:v>SCHICK XTREME 3 SENSITIVE BLACK 3 BLADE DISPOSABLE SENSITIVE 4CT</c:v>
                </c:pt>
                <c:pt idx="4">
                  <c:v>HYDRO 5 SENSITIVE 5 BLADE RAZOR SENSITIVE 3CT</c:v>
                </c:pt>
                <c:pt idx="5">
                  <c:v>SCHICK XTREME 3 SENSITIVE BLACK GREEN 3 BLADE DISPOSABLE SENSITIVE 12CT</c:v>
                </c:pt>
                <c:pt idx="6">
                  <c:v>HYDRO 5 SENSITIVE 5 BLADE REFILL SENSITIVE 12CT</c:v>
                </c:pt>
                <c:pt idx="7">
                  <c:v>SCHICK XTREME 3 SENSITIVE GREEN BLACK 3 BLADE DISPOSABLE SENSITIVE 8CT</c:v>
                </c:pt>
                <c:pt idx="8">
                  <c:v>SCHICK XTREME 3 SENSITIVE GREEN BLACK 3 BLADE DISPOSABLE SENSITIVE 12CT</c:v>
                </c:pt>
                <c:pt idx="9">
                  <c:v>SCHICK XTREME 3 SENSITIVE GREEN BLACK 3 BLADE DISPOSABLE SENSITIVE 4CT</c:v>
                </c:pt>
                <c:pt idx="10">
                  <c:v>SCHICK HYDRO 3 SENSITIVE 3 BLADE RAZOR SENSITIVE 4CT</c:v>
                </c:pt>
                <c:pt idx="11">
                  <c:v>HYDRO 5 SENSITIVE GRAY HOLIDAY GIFT PACK 5 BLADE RAZOR SENSITIVE 3CT</c:v>
                </c:pt>
                <c:pt idx="12">
                  <c:v>SCHICK HYDRO 3 SENSITIVE 3 BLADE REFILL SENSITIVE 5CT</c:v>
                </c:pt>
                <c:pt idx="13">
                  <c:v>SCHICK XTREME 3 SENSITIVE GREEN HOLIDAY GIFT PACK 3 BLADE DISPOSABLE SENSITIVE 8CT</c:v>
                </c:pt>
                <c:pt idx="14">
                  <c:v>HYDRO 5 SENSITIVE 5 BLADE REFILL SENSITIVE 4CT</c:v>
                </c:pt>
                <c:pt idx="15">
                  <c:v>HYDRO 5 DRY SKIN 5 BLADE RAZOR DRY 2CT</c:v>
                </c:pt>
              </c:strCache>
            </c:strRef>
          </c:cat>
          <c:val>
            <c:numRef>
              <c:f>Sheet1!$D$2:$D$17</c:f>
              <c:numCache>
                <c:formatCode>General</c:formatCode>
                <c:ptCount val="16"/>
                <c:pt idx="0">
                  <c:v>4372</c:v>
                </c:pt>
                <c:pt idx="1">
                  <c:v>4560.0253164556962</c:v>
                </c:pt>
                <c:pt idx="2">
                  <c:v>3945.977011494253</c:v>
                </c:pt>
                <c:pt idx="3">
                  <c:v>3032.8736842105263</c:v>
                </c:pt>
                <c:pt idx="4">
                  <c:v>3435.0481927710844</c:v>
                </c:pt>
                <c:pt idx="5">
                  <c:v>3373.205882352941</c:v>
                </c:pt>
                <c:pt idx="6">
                  <c:v>5275.4193548387093</c:v>
                </c:pt>
                <c:pt idx="7">
                  <c:v>506.07142857142856</c:v>
                </c:pt>
                <c:pt idx="8">
                  <c:v>574.65625</c:v>
                </c:pt>
                <c:pt idx="9">
                  <c:v>413.27272727272725</c:v>
                </c:pt>
                <c:pt idx="10">
                  <c:v>999.2</c:v>
                </c:pt>
                <c:pt idx="11">
                  <c:v>1094.75</c:v>
                </c:pt>
                <c:pt idx="12">
                  <c:v>1055.75</c:v>
                </c:pt>
                <c:pt idx="13">
                  <c:v>874</c:v>
                </c:pt>
                <c:pt idx="14">
                  <c:v>446</c:v>
                </c:pt>
                <c:pt idx="15">
                  <c:v>2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B$2:$B$11</c:f>
              <c:numCache>
                <c:formatCode>General</c:formatCode>
                <c:ptCount val="10"/>
                <c:pt idx="0">
                  <c:v>0.98</c:v>
                </c:pt>
                <c:pt idx="1">
                  <c:v>0.99</c:v>
                </c:pt>
                <c:pt idx="2">
                  <c:v>0.83</c:v>
                </c:pt>
                <c:pt idx="3">
                  <c:v>0.9</c:v>
                </c:pt>
                <c:pt idx="4">
                  <c:v>0.95</c:v>
                </c:pt>
                <c:pt idx="5">
                  <c:v>0.94</c:v>
                </c:pt>
                <c:pt idx="6">
                  <c:v>0.7</c:v>
                </c:pt>
                <c:pt idx="7">
                  <c:v>0.54</c:v>
                </c:pt>
                <c:pt idx="8">
                  <c:v>0.97</c:v>
                </c:pt>
                <c:pt idx="9">
                  <c:v>0.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C$2:$C$11</c:f>
              <c:numCache>
                <c:formatCode>General</c:formatCode>
                <c:ptCount val="10"/>
                <c:pt idx="0">
                  <c:v>0.25408870138974388</c:v>
                </c:pt>
                <c:pt idx="1">
                  <c:v>0.38459715183326759</c:v>
                </c:pt>
                <c:pt idx="2">
                  <c:v>0.50351937793613022</c:v>
                </c:pt>
                <c:pt idx="3">
                  <c:v>0.61109240586585323</c:v>
                </c:pt>
                <c:pt idx="4">
                  <c:v>0.71019153891961295</c:v>
                </c:pt>
                <c:pt idx="5">
                  <c:v>0.80388262263172749</c:v>
                </c:pt>
                <c:pt idx="6">
                  <c:v>0.86815524125159871</c:v>
                </c:pt>
                <c:pt idx="7">
                  <c:v>0.92750935750832741</c:v>
                </c:pt>
                <c:pt idx="8">
                  <c:v>0.97905166081639194</c:v>
                </c:pt>
                <c:pt idx="9">
                  <c:v>0.9999564474886534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D$2:$D$11</c:f>
              <c:numCache>
                <c:formatCode>General</c:formatCode>
                <c:ptCount val="10"/>
                <c:pt idx="0">
                  <c:v>6191.2653061224491</c:v>
                </c:pt>
                <c:pt idx="1">
                  <c:v>3147.9191919191921</c:v>
                </c:pt>
                <c:pt idx="2">
                  <c:v>3421.4096385542171</c:v>
                </c:pt>
                <c:pt idx="3">
                  <c:v>2854.1777777777779</c:v>
                </c:pt>
                <c:pt idx="4">
                  <c:v>2490.9578947368423</c:v>
                </c:pt>
                <c:pt idx="5">
                  <c:v>2380.0744680851062</c:v>
                </c:pt>
                <c:pt idx="6">
                  <c:v>2192.542857142857</c:v>
                </c:pt>
                <c:pt idx="7">
                  <c:v>2624.6851851851852</c:v>
                </c:pt>
                <c:pt idx="8">
                  <c:v>1268.8556701030927</c:v>
                </c:pt>
                <c:pt idx="9">
                  <c:v>745.059701492537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05</c:v>
                </c:pt>
                <c:pt idx="1">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5294280187897213</c:v>
                </c:pt>
                <c:pt idx="1">
                  <c:v>0.9850787510361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472.6</c:v>
                </c:pt>
                <c:pt idx="1">
                  <c:v>30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SCHICK XTREME 3 SENSITIVE BLACK GREEN 3 BLADE DISPOSABLE SENSITIVE 12CT</c:v>
                </c:pt>
                <c:pt idx="6">
                  <c:v>SCHICK XTREME 3 SENSITIVE GREEN BLACK 3 BLADE DISPOSABLE SENSITIVE 4CT</c:v>
                </c:pt>
                <c:pt idx="7">
                  <c:v>SCHICK XTREME 3 SENSITIVE GREEN BLACK 3 BLADE DISPOSABLE SENSITIVE 8CT</c:v>
                </c:pt>
                <c:pt idx="8">
                  <c:v>SCHICK XTREME 3 SENSITIVE GREEN BLACK 3 BLADE DISPOSABLE SENSITIVE 12CT</c:v>
                </c:pt>
                <c:pt idx="9">
                  <c:v>HYDRO 5 SENSITIVE 5 BLADE REFILL SENSITIVE 4CT</c:v>
                </c:pt>
              </c:strCache>
            </c:strRef>
          </c:cat>
          <c:val>
            <c:numRef>
              <c:f>Sheet1!$B$2:$B$11</c:f>
              <c:numCache>
                <c:formatCode>General</c:formatCode>
                <c:ptCount val="10"/>
                <c:pt idx="0">
                  <c:v>0.56000000000000005</c:v>
                </c:pt>
                <c:pt idx="1">
                  <c:v>0.77</c:v>
                </c:pt>
                <c:pt idx="2">
                  <c:v>0.65</c:v>
                </c:pt>
                <c:pt idx="3">
                  <c:v>0.61</c:v>
                </c:pt>
                <c:pt idx="4">
                  <c:v>0.81</c:v>
                </c:pt>
                <c:pt idx="5">
                  <c:v>0.3</c:v>
                </c:pt>
                <c:pt idx="6">
                  <c:v>0.71</c:v>
                </c:pt>
                <c:pt idx="7">
                  <c:v>0.61</c:v>
                </c:pt>
                <c:pt idx="8">
                  <c:v>0.24</c:v>
                </c:pt>
                <c:pt idx="9">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SCHICK XTREME 3 SENSITIVE BLACK GREEN 3 BLADE DISPOSABLE SENSITIVE 12CT</c:v>
                </c:pt>
                <c:pt idx="6">
                  <c:v>SCHICK XTREME 3 SENSITIVE GREEN BLACK 3 BLADE DISPOSABLE SENSITIVE 4CT</c:v>
                </c:pt>
                <c:pt idx="7">
                  <c:v>SCHICK XTREME 3 SENSITIVE GREEN BLACK 3 BLADE DISPOSABLE SENSITIVE 8CT</c:v>
                </c:pt>
                <c:pt idx="8">
                  <c:v>SCHICK XTREME 3 SENSITIVE GREEN BLACK 3 BLADE DISPOSABLE SENSITIVE 12CT</c:v>
                </c:pt>
                <c:pt idx="9">
                  <c:v>HYDRO 5 SENSITIVE 5 BLADE REFILL SENSITIVE 4CT</c:v>
                </c:pt>
              </c:strCache>
            </c:strRef>
          </c:cat>
          <c:val>
            <c:numRef>
              <c:f>Sheet1!$C$2:$C$11</c:f>
              <c:numCache>
                <c:formatCode>General</c:formatCode>
                <c:ptCount val="10"/>
                <c:pt idx="0">
                  <c:v>0.21607526515517522</c:v>
                </c:pt>
                <c:pt idx="1">
                  <c:v>0.39499580493280761</c:v>
                </c:pt>
                <c:pt idx="2">
                  <c:v>0.56767469722386343</c:v>
                </c:pt>
                <c:pt idx="3">
                  <c:v>0.7204532890224411</c:v>
                </c:pt>
                <c:pt idx="4">
                  <c:v>0.8726088249006938</c:v>
                </c:pt>
                <c:pt idx="5">
                  <c:v>0.94959213597825842</c:v>
                </c:pt>
                <c:pt idx="6">
                  <c:v>0.96970258584047331</c:v>
                </c:pt>
                <c:pt idx="7">
                  <c:v>0.98933676753308397</c:v>
                </c:pt>
                <c:pt idx="8">
                  <c:v>0.99875916829426825</c:v>
                </c:pt>
                <c:pt idx="9">
                  <c:v>0.9996847759453949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SCHICK XTREME 3 SENSITIVE BLACK GREEN 3 BLADE DISPOSABLE SENSITIVE 12CT</c:v>
                </c:pt>
                <c:pt idx="6">
                  <c:v>SCHICK XTREME 3 SENSITIVE GREEN BLACK 3 BLADE DISPOSABLE SENSITIVE 4CT</c:v>
                </c:pt>
                <c:pt idx="7">
                  <c:v>SCHICK XTREME 3 SENSITIVE GREEN BLACK 3 BLADE DISPOSABLE SENSITIVE 8CT</c:v>
                </c:pt>
                <c:pt idx="8">
                  <c:v>SCHICK XTREME 3 SENSITIVE GREEN BLACK 3 BLADE DISPOSABLE SENSITIVE 12CT</c:v>
                </c:pt>
                <c:pt idx="9">
                  <c:v>HYDRO 5 SENSITIVE 5 BLADE REFILL SENSITIVE 4CT</c:v>
                </c:pt>
              </c:strCache>
            </c:strRef>
          </c:cat>
          <c:val>
            <c:numRef>
              <c:f>Sheet1!$D$2:$D$11</c:f>
              <c:numCache>
                <c:formatCode>General</c:formatCode>
                <c:ptCount val="10"/>
                <c:pt idx="0">
                  <c:v>7307.5535714285706</c:v>
                </c:pt>
                <c:pt idx="1">
                  <c:v>4400.727272727273</c:v>
                </c:pt>
                <c:pt idx="2">
                  <c:v>5031.3076923076924</c:v>
                </c:pt>
                <c:pt idx="3">
                  <c:v>4743.377049180328</c:v>
                </c:pt>
                <c:pt idx="4">
                  <c:v>3557.6049382716051</c:v>
                </c:pt>
                <c:pt idx="5">
                  <c:v>4859.9333333333334</c:v>
                </c:pt>
                <c:pt idx="6">
                  <c:v>536.43661971830988</c:v>
                </c:pt>
                <c:pt idx="7">
                  <c:v>609.59016393442619</c:v>
                </c:pt>
                <c:pt idx="8">
                  <c:v>743.54166666666663</c:v>
                </c:pt>
                <c:pt idx="9">
                  <c:v>8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strCache>
            </c:strRef>
          </c:cat>
          <c:val>
            <c:numRef>
              <c:f>Sheet1!$B$2:$B$12</c:f>
              <c:numCache>
                <c:formatCode>General</c:formatCode>
                <c:ptCount val="11"/>
                <c:pt idx="0">
                  <c:v>0.91</c:v>
                </c:pt>
                <c:pt idx="1">
                  <c:v>0.65</c:v>
                </c:pt>
                <c:pt idx="2">
                  <c:v>0.95</c:v>
                </c:pt>
                <c:pt idx="3">
                  <c:v>0.82</c:v>
                </c:pt>
                <c:pt idx="4">
                  <c:v>0.65</c:v>
                </c:pt>
                <c:pt idx="5">
                  <c:v>0.74</c:v>
                </c:pt>
                <c:pt idx="6">
                  <c:v>0.53</c:v>
                </c:pt>
                <c:pt idx="7">
                  <c:v>0.95</c:v>
                </c:pt>
                <c:pt idx="8">
                  <c:v>0.4</c:v>
                </c:pt>
                <c:pt idx="9">
                  <c:v>0.41</c:v>
                </c:pt>
                <c:pt idx="10">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strCache>
            </c:strRef>
          </c:cat>
          <c:val>
            <c:numRef>
              <c:f>Sheet1!$C$2:$C$12</c:f>
              <c:numCache>
                <c:formatCode>General</c:formatCode>
                <c:ptCount val="11"/>
                <c:pt idx="0">
                  <c:v>0.2257091772971006</c:v>
                </c:pt>
                <c:pt idx="1">
                  <c:v>0.36274844804064865</c:v>
                </c:pt>
                <c:pt idx="2">
                  <c:v>0.48777824002214221</c:v>
                </c:pt>
                <c:pt idx="3">
                  <c:v>0.588039896909066</c:v>
                </c:pt>
                <c:pt idx="4">
                  <c:v>0.68463767397876518</c:v>
                </c:pt>
                <c:pt idx="5">
                  <c:v>0.77705474976016931</c:v>
                </c:pt>
                <c:pt idx="6">
                  <c:v>0.85182002311601501</c:v>
                </c:pt>
                <c:pt idx="7">
                  <c:v>0.92190357734425532</c:v>
                </c:pt>
                <c:pt idx="8">
                  <c:v>0.97933995491266579</c:v>
                </c:pt>
                <c:pt idx="9">
                  <c:v>0.99944943563949618</c:v>
                </c:pt>
                <c:pt idx="10">
                  <c:v>0.9999355040974119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strCache>
            </c:strRef>
          </c:cat>
          <c:val>
            <c:numRef>
              <c:f>Sheet1!$D$2:$D$12</c:f>
              <c:numCache>
                <c:formatCode>General</c:formatCode>
                <c:ptCount val="11"/>
                <c:pt idx="0">
                  <c:v>5807.0109890109889</c:v>
                </c:pt>
                <c:pt idx="1">
                  <c:v>4936.0153846153844</c:v>
                </c:pt>
                <c:pt idx="2">
                  <c:v>3081.3052631578948</c:v>
                </c:pt>
                <c:pt idx="3">
                  <c:v>2862.6341463414633</c:v>
                </c:pt>
                <c:pt idx="4">
                  <c:v>3479.353846153846</c:v>
                </c:pt>
                <c:pt idx="5">
                  <c:v>2923.9189189189187</c:v>
                </c:pt>
                <c:pt idx="6">
                  <c:v>3302.6981132075471</c:v>
                </c:pt>
                <c:pt idx="7">
                  <c:v>1727.1789473684209</c:v>
                </c:pt>
                <c:pt idx="8">
                  <c:v>3361.8</c:v>
                </c:pt>
                <c:pt idx="9">
                  <c:v>1148.3170731707316</c:v>
                </c:pt>
                <c:pt idx="10">
                  <c:v>189.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strCache>
            </c:strRef>
          </c:cat>
          <c:val>
            <c:numRef>
              <c:f>Sheet1!$B$2:$B$16</c:f>
              <c:numCache>
                <c:formatCode>General</c:formatCode>
                <c:ptCount val="15"/>
                <c:pt idx="0">
                  <c:v>0.8</c:v>
                </c:pt>
                <c:pt idx="1">
                  <c:v>0.95</c:v>
                </c:pt>
                <c:pt idx="2">
                  <c:v>0.87</c:v>
                </c:pt>
                <c:pt idx="3">
                  <c:v>0.87</c:v>
                </c:pt>
                <c:pt idx="4">
                  <c:v>0.96</c:v>
                </c:pt>
                <c:pt idx="5">
                  <c:v>0.49</c:v>
                </c:pt>
                <c:pt idx="6">
                  <c:v>0.73</c:v>
                </c:pt>
                <c:pt idx="7">
                  <c:v>0.91</c:v>
                </c:pt>
                <c:pt idx="8">
                  <c:v>0.87</c:v>
                </c:pt>
                <c:pt idx="9">
                  <c:v>0.86</c:v>
                </c:pt>
                <c:pt idx="10">
                  <c:v>0.91</c:v>
                </c:pt>
                <c:pt idx="11">
                  <c:v>0.66</c:v>
                </c:pt>
                <c:pt idx="12">
                  <c:v>0.06</c:v>
                </c:pt>
                <c:pt idx="13">
                  <c:v>0.05</c:v>
                </c:pt>
                <c:pt idx="1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strCache>
            </c:strRef>
          </c:cat>
          <c:val>
            <c:numRef>
              <c:f>Sheet1!$C$2:$C$16</c:f>
              <c:numCache>
                <c:formatCode>General</c:formatCode>
                <c:ptCount val="15"/>
                <c:pt idx="0">
                  <c:v>0.15582185312235336</c:v>
                </c:pt>
                <c:pt idx="1">
                  <c:v>0.29756344665620027</c:v>
                </c:pt>
                <c:pt idx="2">
                  <c:v>0.42381499783021814</c:v>
                </c:pt>
                <c:pt idx="3">
                  <c:v>0.5456717759783144</c:v>
                </c:pt>
                <c:pt idx="4">
                  <c:v>0.66329196192286688</c:v>
                </c:pt>
                <c:pt idx="5">
                  <c:v>0.77296658265108764</c:v>
                </c:pt>
                <c:pt idx="6">
                  <c:v>0.86201392316196468</c:v>
                </c:pt>
                <c:pt idx="7">
                  <c:v>0.90798472960997423</c:v>
                </c:pt>
                <c:pt idx="8">
                  <c:v>0.94626025738148978</c:v>
                </c:pt>
                <c:pt idx="9">
                  <c:v>0.96299990454313755</c:v>
                </c:pt>
                <c:pt idx="10">
                  <c:v>0.97870699279063755</c:v>
                </c:pt>
                <c:pt idx="11">
                  <c:v>0.99244167822642526</c:v>
                </c:pt>
                <c:pt idx="12">
                  <c:v>0.99633086837988061</c:v>
                </c:pt>
                <c:pt idx="13">
                  <c:v>0.99961113175958161</c:v>
                </c:pt>
                <c:pt idx="14">
                  <c:v>0.99975868369725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6</c:f>
              <c:strCache>
                <c:ptCount val="15"/>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strCache>
            </c:strRef>
          </c:cat>
          <c:val>
            <c:numRef>
              <c:f>Sheet1!$D$2:$D$16</c:f>
              <c:numCache>
                <c:formatCode>General</c:formatCode>
                <c:ptCount val="15"/>
                <c:pt idx="0">
                  <c:v>57541.387499999997</c:v>
                </c:pt>
                <c:pt idx="1">
                  <c:v>44077.368421052633</c:v>
                </c:pt>
                <c:pt idx="2">
                  <c:v>42870.586206896551</c:v>
                </c:pt>
                <c:pt idx="3">
                  <c:v>41378.275862068964</c:v>
                </c:pt>
                <c:pt idx="4">
                  <c:v>36195.333333333336</c:v>
                </c:pt>
                <c:pt idx="5">
                  <c:v>66122.918367346938</c:v>
                </c:pt>
                <c:pt idx="6">
                  <c:v>36036.28767123288</c:v>
                </c:pt>
                <c:pt idx="7">
                  <c:v>14923.912087912087</c:v>
                </c:pt>
                <c:pt idx="8">
                  <c:v>12997.022988505747</c:v>
                </c:pt>
                <c:pt idx="9">
                  <c:v>5750.2906976744189</c:v>
                </c:pt>
                <c:pt idx="10">
                  <c:v>5099.131868131868</c:v>
                </c:pt>
                <c:pt idx="11">
                  <c:v>6147.757575757576</c:v>
                </c:pt>
                <c:pt idx="12">
                  <c:v>19149.166666666668</c:v>
                </c:pt>
                <c:pt idx="13">
                  <c:v>19381.2</c:v>
                </c:pt>
                <c:pt idx="14">
                  <c:v>435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B$2:$B$11</c:f>
              <c:numCache>
                <c:formatCode>General</c:formatCode>
                <c:ptCount val="10"/>
                <c:pt idx="0">
                  <c:v>0.99</c:v>
                </c:pt>
                <c:pt idx="1">
                  <c:v>0.86</c:v>
                </c:pt>
                <c:pt idx="2">
                  <c:v>0.99</c:v>
                </c:pt>
                <c:pt idx="3">
                  <c:v>0.93</c:v>
                </c:pt>
                <c:pt idx="4">
                  <c:v>0.97</c:v>
                </c:pt>
                <c:pt idx="5">
                  <c:v>0.95</c:v>
                </c:pt>
                <c:pt idx="6">
                  <c:v>0.77</c:v>
                </c:pt>
                <c:pt idx="7">
                  <c:v>0.6</c:v>
                </c:pt>
                <c:pt idx="8">
                  <c:v>0.98</c:v>
                </c:pt>
                <c:pt idx="9">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C$2:$C$11</c:f>
              <c:numCache>
                <c:formatCode>General</c:formatCode>
                <c:ptCount val="10"/>
                <c:pt idx="0">
                  <c:v>0.25406068548683652</c:v>
                </c:pt>
                <c:pt idx="1">
                  <c:v>0.38670777129741718</c:v>
                </c:pt>
                <c:pt idx="2">
                  <c:v>0.49501297441482556</c:v>
                </c:pt>
                <c:pt idx="3">
                  <c:v>0.59953200117178151</c:v>
                </c:pt>
                <c:pt idx="4">
                  <c:v>0.70319850786308014</c:v>
                </c:pt>
                <c:pt idx="5">
                  <c:v>0.79663057120278613</c:v>
                </c:pt>
                <c:pt idx="6">
                  <c:v>0.86486466293988218</c:v>
                </c:pt>
                <c:pt idx="7">
                  <c:v>0.93071510056851692</c:v>
                </c:pt>
                <c:pt idx="8">
                  <c:v>0.97960345742914712</c:v>
                </c:pt>
                <c:pt idx="9">
                  <c:v>0.9998852966938265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D$2:$D$11</c:f>
              <c:numCache>
                <c:formatCode>General</c:formatCode>
                <c:ptCount val="10"/>
                <c:pt idx="0">
                  <c:v>76941.121212121216</c:v>
                </c:pt>
                <c:pt idx="1">
                  <c:v>46244.011627906977</c:v>
                </c:pt>
                <c:pt idx="2">
                  <c:v>32799.737373737371</c:v>
                </c:pt>
                <c:pt idx="3">
                  <c:v>33695.247311827959</c:v>
                </c:pt>
                <c:pt idx="4">
                  <c:v>32042.247422680412</c:v>
                </c:pt>
                <c:pt idx="5">
                  <c:v>29486.863157894735</c:v>
                </c:pt>
                <c:pt idx="6">
                  <c:v>26568.493506493505</c:v>
                </c:pt>
                <c:pt idx="7">
                  <c:v>32905.133333333331</c:v>
                </c:pt>
                <c:pt idx="8">
                  <c:v>14956.693877551021</c:v>
                </c:pt>
                <c:pt idx="9">
                  <c:v>8564.563380281690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13</c:v>
                </c:pt>
                <c:pt idx="1">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7217974119249579</c:v>
                </c:pt>
                <c:pt idx="1">
                  <c:v>0.9967107299857593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6680.8461538461543</c:v>
                </c:pt>
                <c:pt idx="1">
                  <c:v>5990.28571428571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pt idx="7">
                  <c:v>HYDRO 5 DRY SKIN 5 BLADE RAZOR DRY 2CT</c:v>
                </c:pt>
              </c:strCache>
            </c:strRef>
          </c:cat>
          <c:val>
            <c:numRef>
              <c:f>Sheet1!$B$2:$B$9</c:f>
              <c:numCache>
                <c:formatCode>General</c:formatCode>
                <c:ptCount val="8"/>
                <c:pt idx="0">
                  <c:v>0.78500000000000003</c:v>
                </c:pt>
                <c:pt idx="1">
                  <c:v>0.85199999999999998</c:v>
                </c:pt>
                <c:pt idx="2">
                  <c:v>0.44800000000000001</c:v>
                </c:pt>
                <c:pt idx="3">
                  <c:v>0.79300000000000004</c:v>
                </c:pt>
                <c:pt idx="4">
                  <c:v>5.6000000000000001E-2</c:v>
                </c:pt>
                <c:pt idx="5">
                  <c:v>4.5999999999999999E-2</c:v>
                </c:pt>
                <c:pt idx="6">
                  <c:v>0.01</c:v>
                </c:pt>
                <c:pt idx="7">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pt idx="7">
                  <c:v>HYDRO 5 DRY SKIN 5 BLADE RAZOR DRY 2CT</c:v>
                </c:pt>
              </c:strCache>
            </c:strRef>
          </c:cat>
          <c:val>
            <c:numRef>
              <c:f>Sheet1!$C$2:$C$9</c:f>
              <c:numCache>
                <c:formatCode>General</c:formatCode>
                <c:ptCount val="8"/>
                <c:pt idx="0">
                  <c:v>0.36933755897497095</c:v>
                </c:pt>
                <c:pt idx="1">
                  <c:v>0.65629346023915069</c:v>
                </c:pt>
                <c:pt idx="2">
                  <c:v>0.89032526913855659</c:v>
                </c:pt>
                <c:pt idx="3">
                  <c:v>0.98398466879323598</c:v>
                </c:pt>
                <c:pt idx="4">
                  <c:v>0.99222928947641043</c:v>
                </c:pt>
                <c:pt idx="5">
                  <c:v>0.99918182786199905</c:v>
                </c:pt>
                <c:pt idx="6">
                  <c:v>0.99956981001179546</c:v>
                </c:pt>
                <c:pt idx="7">
                  <c:v>0.9997763809473266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pt idx="7">
                  <c:v>HYDRO 5 DRY SKIN 5 BLADE RAZOR DRY 2CT</c:v>
                </c:pt>
              </c:strCache>
            </c:strRef>
          </c:cat>
          <c:val>
            <c:numRef>
              <c:f>Sheet1!$D$2:$D$9</c:f>
              <c:numCache>
                <c:formatCode>General</c:formatCode>
                <c:ptCount val="8"/>
                <c:pt idx="0">
                  <c:v>68443.006369426745</c:v>
                </c:pt>
                <c:pt idx="1">
                  <c:v>48994.894366197179</c:v>
                </c:pt>
                <c:pt idx="2">
                  <c:v>75992.745535714275</c:v>
                </c:pt>
                <c:pt idx="3">
                  <c:v>17181.197982345522</c:v>
                </c:pt>
                <c:pt idx="4">
                  <c:v>21416.964285714283</c:v>
                </c:pt>
                <c:pt idx="5">
                  <c:v>21986.739130434784</c:v>
                </c:pt>
                <c:pt idx="6">
                  <c:v>5644</c:v>
                </c:pt>
                <c:pt idx="7">
                  <c:v>125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84499999999999997</c:v>
                </c:pt>
                <c:pt idx="1">
                  <c:v>0.751</c:v>
                </c:pt>
                <c:pt idx="2">
                  <c:v>0.58399999999999996</c:v>
                </c:pt>
                <c:pt idx="3">
                  <c:v>0.6889999999999999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6219921461088459</c:v>
                </c:pt>
                <c:pt idx="1">
                  <c:v>0.70171132027202943</c:v>
                </c:pt>
                <c:pt idx="2">
                  <c:v>0.92873665092714175</c:v>
                </c:pt>
                <c:pt idx="3">
                  <c:v>0.9998635132201518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54222.520710059172</c:v>
                </c:pt>
                <c:pt idx="1">
                  <c:v>31615.113182423436</c:v>
                </c:pt>
                <c:pt idx="2">
                  <c:v>38536.181506849316</c:v>
                </c:pt>
                <c:pt idx="3">
                  <c:v>10233.43976777939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9178393832722365</c:v>
                </c:pt>
                <c:pt idx="1">
                  <c:v>0.16414064550992524</c:v>
                </c:pt>
                <c:pt idx="2">
                  <c:v>0.13480606533282488</c:v>
                </c:pt>
                <c:pt idx="3">
                  <c:v>0.10662706404701726</c:v>
                </c:pt>
                <c:pt idx="4">
                  <c:v>2.64228678300894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3693583800927044</c:v>
                </c:pt>
                <c:pt idx="1">
                  <c:v>0.25420834349841415</c:v>
                </c:pt>
                <c:pt idx="2">
                  <c:v>0.13979019272993412</c:v>
                </c:pt>
                <c:pt idx="3">
                  <c:v>0.14247377409124173</c:v>
                </c:pt>
                <c:pt idx="4">
                  <c:v>2.65918516711392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3833676399589809</c:v>
                </c:pt>
                <c:pt idx="1">
                  <c:v>1.5487226988091911</c:v>
                </c:pt>
                <c:pt idx="2">
                  <c:v>1.0369725752680627</c:v>
                </c:pt>
                <c:pt idx="3">
                  <c:v>1.3361877246138734</c:v>
                </c:pt>
                <c:pt idx="4">
                  <c:v>10.06395363369960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11700000000000001</c:v>
                </c:pt>
                <c:pt idx="1">
                  <c:v>6.4000000000000001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713119379961624</c:v>
                </c:pt>
                <c:pt idx="1">
                  <c:v>0.9963956507016817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7625.1282051282042</c:v>
                </c:pt>
                <c:pt idx="1">
                  <c:v>675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SENSITIVE GRAY HOLIDAY GIFT PACK 5 BLADE RAZOR SENSITIVE 3CT</c:v>
                </c:pt>
                <c:pt idx="5">
                  <c:v>SCHICK HYDRO 3 SENSITIVE 3 BLADE REFILL SENSITIVE 5CT</c:v>
                </c:pt>
                <c:pt idx="6">
                  <c:v>HYDRO 5 SENSITIVE 5 BLADE REFILL SENSITIVE 4CT</c:v>
                </c:pt>
                <c:pt idx="7">
                  <c:v>HYDRO 5 DRY SKIN 5 BLADE RAZOR DRY 2CT</c:v>
                </c:pt>
              </c:strCache>
            </c:strRef>
          </c:cat>
          <c:val>
            <c:numRef>
              <c:f>Sheet1!$B$2:$B$9</c:f>
              <c:numCache>
                <c:formatCode>General</c:formatCode>
                <c:ptCount val="8"/>
                <c:pt idx="0">
                  <c:v>0.79</c:v>
                </c:pt>
                <c:pt idx="1">
                  <c:v>0.83</c:v>
                </c:pt>
                <c:pt idx="2">
                  <c:v>0.31</c:v>
                </c:pt>
                <c:pt idx="3">
                  <c:v>0.05</c:v>
                </c:pt>
                <c:pt idx="4">
                  <c:v>0.04</c:v>
                </c:pt>
                <c:pt idx="5">
                  <c:v>0.04</c:v>
                </c:pt>
                <c:pt idx="6">
                  <c:v>0.0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SENSITIVE GRAY HOLIDAY GIFT PACK 5 BLADE RAZOR SENSITIVE 3CT</c:v>
                </c:pt>
                <c:pt idx="5">
                  <c:v>SCHICK HYDRO 3 SENSITIVE 3 BLADE REFILL SENSITIVE 5CT</c:v>
                </c:pt>
                <c:pt idx="6">
                  <c:v>HYDRO 5 SENSITIVE 5 BLADE REFILL SENSITIVE 4CT</c:v>
                </c:pt>
                <c:pt idx="7">
                  <c:v>HYDRO 5 DRY SKIN 5 BLADE RAZOR DRY 2CT</c:v>
                </c:pt>
              </c:strCache>
            </c:strRef>
          </c:cat>
          <c:val>
            <c:numRef>
              <c:f>Sheet1!$C$2:$C$9</c:f>
              <c:numCache>
                <c:formatCode>General</c:formatCode>
                <c:ptCount val="8"/>
                <c:pt idx="0">
                  <c:v>0.43748633773602319</c:v>
                </c:pt>
                <c:pt idx="1">
                  <c:v>0.78372939730592295</c:v>
                </c:pt>
                <c:pt idx="2">
                  <c:v>0.98233378186039955</c:v>
                </c:pt>
                <c:pt idx="3">
                  <c:v>0.9884010414895632</c:v>
                </c:pt>
                <c:pt idx="4">
                  <c:v>0.99371900184106599</c:v>
                </c:pt>
                <c:pt idx="5">
                  <c:v>0.99884751213209044</c:v>
                </c:pt>
                <c:pt idx="6">
                  <c:v>0.99938914499730402</c:v>
                </c:pt>
                <c:pt idx="7">
                  <c:v>0.9996466027718001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SENSITIVE GRAY HOLIDAY GIFT PACK 5 BLADE RAZOR SENSITIVE 3CT</c:v>
                </c:pt>
                <c:pt idx="5">
                  <c:v>SCHICK HYDRO 3 SENSITIVE 3 BLADE REFILL SENSITIVE 5CT</c:v>
                </c:pt>
                <c:pt idx="6">
                  <c:v>HYDRO 5 SENSITIVE 5 BLADE REFILL SENSITIVE 4CT</c:v>
                </c:pt>
                <c:pt idx="7">
                  <c:v>HYDRO 5 DRY SKIN 5 BLADE RAZOR DRY 2CT</c:v>
                </c:pt>
              </c:strCache>
            </c:strRef>
          </c:cat>
          <c:val>
            <c:numRef>
              <c:f>Sheet1!$D$2:$D$9</c:f>
              <c:numCache>
                <c:formatCode>General</c:formatCode>
                <c:ptCount val="8"/>
                <c:pt idx="0">
                  <c:v>4560.0253164556962</c:v>
                </c:pt>
                <c:pt idx="1">
                  <c:v>3435.0481927710844</c:v>
                </c:pt>
                <c:pt idx="2">
                  <c:v>5275.4193548387093</c:v>
                </c:pt>
                <c:pt idx="3">
                  <c:v>999.2</c:v>
                </c:pt>
                <c:pt idx="4">
                  <c:v>1094.75</c:v>
                </c:pt>
                <c:pt idx="5">
                  <c:v>1055.75</c:v>
                </c:pt>
                <c:pt idx="6">
                  <c:v>446</c:v>
                </c:pt>
                <c:pt idx="7">
                  <c:v>2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83</c:v>
                </c:pt>
                <c:pt idx="1">
                  <c:v>0.7</c:v>
                </c:pt>
                <c:pt idx="2">
                  <c:v>0.54</c:v>
                </c:pt>
                <c:pt idx="3">
                  <c:v>0.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5132667413641026</c:v>
                </c:pt>
                <c:pt idx="1">
                  <c:v>0.69525035560747295</c:v>
                </c:pt>
                <c:pt idx="2">
                  <c:v>0.92050762470101166</c:v>
                </c:pt>
                <c:pt idx="3">
                  <c:v>0.9998442479001280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3421.4096385542171</c:v>
                </c:pt>
                <c:pt idx="1">
                  <c:v>2192.542857142857</c:v>
                </c:pt>
                <c:pt idx="2">
                  <c:v>2624.6851851851852</c:v>
                </c:pt>
                <c:pt idx="3">
                  <c:v>745.059701492537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05</c:v>
                </c:pt>
                <c:pt idx="1">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5294280187897213</c:v>
                </c:pt>
                <c:pt idx="1">
                  <c:v>0.9850787510361979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472.6</c:v>
                </c:pt>
                <c:pt idx="1">
                  <c:v>30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HYDRO 5 SENSITIVE 5 BLADE REFILL SENSITIVE 6CT</c:v>
                </c:pt>
                <c:pt idx="1">
                  <c:v>HYDRO 5 SENSITIVE 5 BLADE RAZOR SENSITIVE 3CT</c:v>
                </c:pt>
                <c:pt idx="2">
                  <c:v>HYDRO 5 SENSITIVE 5 BLADE REFILL SENSITIVE 4CT</c:v>
                </c:pt>
              </c:strCache>
            </c:strRef>
          </c:cat>
          <c:val>
            <c:numRef>
              <c:f>Sheet1!$B$2:$B$4</c:f>
              <c:numCache>
                <c:formatCode>General</c:formatCode>
                <c:ptCount val="3"/>
                <c:pt idx="0">
                  <c:v>0.56000000000000005</c:v>
                </c:pt>
                <c:pt idx="1">
                  <c:v>0.61</c:v>
                </c:pt>
                <c:pt idx="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HYDRO 5 SENSITIVE 5 BLADE REFILL SENSITIVE 6CT</c:v>
                </c:pt>
                <c:pt idx="1">
                  <c:v>HYDRO 5 SENSITIVE 5 BLADE RAZOR SENSITIVE 3CT</c:v>
                </c:pt>
                <c:pt idx="2">
                  <c:v>HYDRO 5 SENSITIVE 5 BLADE REFILL SENSITIVE 4CT</c:v>
                </c:pt>
              </c:strCache>
            </c:strRef>
          </c:cat>
          <c:val>
            <c:numRef>
              <c:f>Sheet1!$C$2:$C$4</c:f>
              <c:numCache>
                <c:formatCode>General</c:formatCode>
                <c:ptCount val="3"/>
                <c:pt idx="0">
                  <c:v>0.58390610084798611</c:v>
                </c:pt>
                <c:pt idx="1">
                  <c:v>0.9967638694874843</c:v>
                </c:pt>
                <c:pt idx="2">
                  <c:v>0.9992651643677489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HYDRO 5 SENSITIVE 5 BLADE REFILL SENSITIVE 6CT</c:v>
                </c:pt>
                <c:pt idx="1">
                  <c:v>HYDRO 5 SENSITIVE 5 BLADE RAZOR SENSITIVE 3CT</c:v>
                </c:pt>
                <c:pt idx="2">
                  <c:v>HYDRO 5 SENSITIVE 5 BLADE REFILL SENSITIVE 4CT</c:v>
                </c:pt>
              </c:strCache>
            </c:strRef>
          </c:cat>
          <c:val>
            <c:numRef>
              <c:f>Sheet1!$D$2:$D$4</c:f>
              <c:numCache>
                <c:formatCode>General</c:formatCode>
                <c:ptCount val="3"/>
                <c:pt idx="0">
                  <c:v>7307.5535714285706</c:v>
                </c:pt>
                <c:pt idx="1">
                  <c:v>4743.377049180328</c:v>
                </c:pt>
                <c:pt idx="2">
                  <c:v>8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65</c:v>
                </c:pt>
                <c:pt idx="1">
                  <c:v>0.53</c:v>
                </c:pt>
                <c:pt idx="2">
                  <c:v>0.4</c:v>
                </c:pt>
                <c:pt idx="3">
                  <c:v>0.4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7351642853664044</c:v>
                </c:pt>
                <c:pt idx="1">
                  <c:v>0.73185540703483465</c:v>
                </c:pt>
                <c:pt idx="2">
                  <c:v>0.93031726564448591</c:v>
                </c:pt>
                <c:pt idx="3">
                  <c:v>0.9998022347473548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4936.0153846153844</c:v>
                </c:pt>
                <c:pt idx="1">
                  <c:v>3302.6981132075471</c:v>
                </c:pt>
                <c:pt idx="2">
                  <c:v>3361.8</c:v>
                </c:pt>
                <c:pt idx="3">
                  <c:v>1148.317073170731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strCache>
            </c:strRef>
          </c:cat>
          <c:val>
            <c:numRef>
              <c:f>Sheet1!$B$2:$B$8</c:f>
              <c:numCache>
                <c:formatCode>General</c:formatCode>
                <c:ptCount val="7"/>
                <c:pt idx="0">
                  <c:v>0.8</c:v>
                </c:pt>
                <c:pt idx="1">
                  <c:v>0.87</c:v>
                </c:pt>
                <c:pt idx="2">
                  <c:v>0.49</c:v>
                </c:pt>
                <c:pt idx="3">
                  <c:v>0.91</c:v>
                </c:pt>
                <c:pt idx="4">
                  <c:v>0.06</c:v>
                </c:pt>
                <c:pt idx="5">
                  <c:v>0.05</c:v>
                </c:pt>
                <c:pt idx="6">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strCache>
            </c:strRef>
          </c:cat>
          <c:val>
            <c:numRef>
              <c:f>Sheet1!$C$2:$C$8</c:f>
              <c:numCache>
                <c:formatCode>General</c:formatCode>
                <c:ptCount val="7"/>
                <c:pt idx="0">
                  <c:v>0.35348122076470878</c:v>
                </c:pt>
                <c:pt idx="1">
                  <c:v>0.62991281129662868</c:v>
                </c:pt>
                <c:pt idx="2">
                  <c:v>0.87870922877651081</c:v>
                </c:pt>
                <c:pt idx="3">
                  <c:v>0.98299381054195156</c:v>
                </c:pt>
                <c:pt idx="4">
                  <c:v>0.99181642210561982</c:v>
                </c:pt>
                <c:pt idx="5">
                  <c:v>0.99925768583501484</c:v>
                </c:pt>
                <c:pt idx="6">
                  <c:v>0.9995924067872410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strCache>
            </c:strRef>
          </c:cat>
          <c:val>
            <c:numRef>
              <c:f>Sheet1!$D$2:$D$8</c:f>
              <c:numCache>
                <c:formatCode>General</c:formatCode>
                <c:ptCount val="7"/>
                <c:pt idx="0">
                  <c:v>57541.387499999997</c:v>
                </c:pt>
                <c:pt idx="1">
                  <c:v>41378.275862068964</c:v>
                </c:pt>
                <c:pt idx="2">
                  <c:v>66122.918367346938</c:v>
                </c:pt>
                <c:pt idx="3">
                  <c:v>14923.912087912087</c:v>
                </c:pt>
                <c:pt idx="4">
                  <c:v>19149.166666666668</c:v>
                </c:pt>
                <c:pt idx="5">
                  <c:v>19381.2</c:v>
                </c:pt>
                <c:pt idx="6">
                  <c:v>435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86</c:v>
                </c:pt>
                <c:pt idx="1">
                  <c:v>0.77</c:v>
                </c:pt>
                <c:pt idx="2">
                  <c:v>0.6</c:v>
                </c:pt>
                <c:pt idx="3">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6210310341109367</c:v>
                </c:pt>
                <c:pt idx="1">
                  <c:v>0.69981044057171327</c:v>
                </c:pt>
                <c:pt idx="2">
                  <c:v>0.9292138338179412</c:v>
                </c:pt>
                <c:pt idx="3">
                  <c:v>0.9998697461572212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46244.011627906977</c:v>
                </c:pt>
                <c:pt idx="1">
                  <c:v>26568.493506493505</c:v>
                </c:pt>
                <c:pt idx="2">
                  <c:v>32905.133333333331</c:v>
                </c:pt>
                <c:pt idx="3">
                  <c:v>8564.563380281690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13</c:v>
                </c:pt>
                <c:pt idx="1">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7217974119249579</c:v>
                </c:pt>
                <c:pt idx="1">
                  <c:v>0.9967107299857593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6680.8461538461543</c:v>
                </c:pt>
                <c:pt idx="1">
                  <c:v>5990.28571428571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0.93899999999999995</c:v>
                </c:pt>
                <c:pt idx="1">
                  <c:v>0.85699999999999998</c:v>
                </c:pt>
                <c:pt idx="2">
                  <c:v>0.95</c:v>
                </c:pt>
                <c:pt idx="3">
                  <c:v>0.70099999999999996</c:v>
                </c:pt>
                <c:pt idx="4">
                  <c:v>0.75900000000000001</c:v>
                </c:pt>
                <c:pt idx="5">
                  <c:v>0.84399999999999997</c:v>
                </c:pt>
                <c:pt idx="6">
                  <c:v>0.89600000000000002</c:v>
                </c:pt>
                <c:pt idx="7">
                  <c:v>0.634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C$2:$C$9</c:f>
              <c:numCache>
                <c:formatCode>General</c:formatCode>
                <c:ptCount val="8"/>
                <c:pt idx="0">
                  <c:v>0.25844353482598892</c:v>
                </c:pt>
                <c:pt idx="1">
                  <c:v>0.48877189573508345</c:v>
                </c:pt>
                <c:pt idx="2">
                  <c:v>0.70082951326385778</c:v>
                </c:pt>
                <c:pt idx="3">
                  <c:v>0.85817378309682857</c:v>
                </c:pt>
                <c:pt idx="4">
                  <c:v>0.91754790171346678</c:v>
                </c:pt>
                <c:pt idx="5">
                  <c:v>0.94760628056901841</c:v>
                </c:pt>
                <c:pt idx="6">
                  <c:v>0.9757935878948204</c:v>
                </c:pt>
                <c:pt idx="7">
                  <c:v>0.9998925850833972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D$2:$D$9</c:f>
              <c:numCache>
                <c:formatCode>General</c:formatCode>
                <c:ptCount val="8"/>
                <c:pt idx="0">
                  <c:v>52579.062832800853</c:v>
                </c:pt>
                <c:pt idx="1">
                  <c:v>51342.777129521586</c:v>
                </c:pt>
                <c:pt idx="2">
                  <c:v>42642.536842105263</c:v>
                </c:pt>
                <c:pt idx="3">
                  <c:v>42879.101283880176</c:v>
                </c:pt>
                <c:pt idx="4">
                  <c:v>14944.044795783924</c:v>
                </c:pt>
                <c:pt idx="5">
                  <c:v>6803.5545023696686</c:v>
                </c:pt>
                <c:pt idx="6">
                  <c:v>6009.7767857142853</c:v>
                </c:pt>
                <c:pt idx="7">
                  <c:v>7261.43533123028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232810204621629</c:v>
                </c:pt>
                <c:pt idx="1">
                  <c:v>0.17466163350264091</c:v>
                </c:pt>
                <c:pt idx="2">
                  <c:v>0.16328107149783413</c:v>
                </c:pt>
                <c:pt idx="3">
                  <c:v>0.11709290612027616</c:v>
                </c:pt>
                <c:pt idx="4">
                  <c:v>2.636286833032484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346255175009416</c:v>
                </c:pt>
                <c:pt idx="1">
                  <c:v>0.23033496424538957</c:v>
                </c:pt>
                <c:pt idx="2">
                  <c:v>0.19119307489649984</c:v>
                </c:pt>
                <c:pt idx="3">
                  <c:v>0.15393300715092212</c:v>
                </c:pt>
                <c:pt idx="4">
                  <c:v>2.107640195709447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4394550130782588</c:v>
                </c:pt>
                <c:pt idx="1">
                  <c:v>1.3187496282170457</c:v>
                </c:pt>
                <c:pt idx="2">
                  <c:v>1.1709445139146821</c:v>
                </c:pt>
                <c:pt idx="3">
                  <c:v>1.3146228260216237</c:v>
                </c:pt>
                <c:pt idx="4">
                  <c:v>7.99473019893308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strCache>
            </c:strRef>
          </c:cat>
          <c:val>
            <c:numRef>
              <c:f>Sheet1!$B$2:$B$8</c:f>
              <c:numCache>
                <c:formatCode>General</c:formatCode>
                <c:ptCount val="7"/>
                <c:pt idx="0">
                  <c:v>0.98499999999999999</c:v>
                </c:pt>
                <c:pt idx="1">
                  <c:v>0.98799999999999999</c:v>
                </c:pt>
                <c:pt idx="2">
                  <c:v>0.91100000000000003</c:v>
                </c:pt>
                <c:pt idx="3">
                  <c:v>0.95899999999999996</c:v>
                </c:pt>
                <c:pt idx="4">
                  <c:v>0.93799999999999994</c:v>
                </c:pt>
                <c:pt idx="5">
                  <c:v>0.97799999999999998</c:v>
                </c:pt>
                <c:pt idx="6">
                  <c:v>4.000000000000000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strCache>
            </c:strRef>
          </c:cat>
          <c:val>
            <c:numRef>
              <c:f>Sheet1!$C$2:$C$8</c:f>
              <c:numCache>
                <c:formatCode>General</c:formatCode>
                <c:ptCount val="7"/>
                <c:pt idx="0">
                  <c:v>0.35294867001747371</c:v>
                </c:pt>
                <c:pt idx="1">
                  <c:v>0.50826651727711236</c:v>
                </c:pt>
                <c:pt idx="2">
                  <c:v>0.65411376901191298</c:v>
                </c:pt>
                <c:pt idx="3">
                  <c:v>0.79793943069239948</c:v>
                </c:pt>
                <c:pt idx="4">
                  <c:v>0.92917131744754689</c:v>
                </c:pt>
                <c:pt idx="5">
                  <c:v>0.99985970533604041</c:v>
                </c:pt>
                <c:pt idx="6">
                  <c:v>0.9999935881426934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strCache>
            </c:strRef>
          </c:cat>
          <c:val>
            <c:numRef>
              <c:f>Sheet1!$D$2:$D$8</c:f>
              <c:numCache>
                <c:formatCode>General</c:formatCode>
                <c:ptCount val="7"/>
                <c:pt idx="0">
                  <c:v>88856.375634517768</c:v>
                </c:pt>
                <c:pt idx="1">
                  <c:v>38983.218623481785</c:v>
                </c:pt>
                <c:pt idx="2">
                  <c:v>39700.241492864981</c:v>
                </c:pt>
                <c:pt idx="3">
                  <c:v>37190.417101147032</c:v>
                </c:pt>
                <c:pt idx="4">
                  <c:v>34693.635394456294</c:v>
                </c:pt>
                <c:pt idx="5">
                  <c:v>17923.486707566462</c:v>
                </c:pt>
                <c:pt idx="6">
                  <c:v>83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B$2:$B$4</c:f>
              <c:numCache>
                <c:formatCode>General</c:formatCode>
                <c:ptCount val="3"/>
                <c:pt idx="0">
                  <c:v>0.99</c:v>
                </c:pt>
                <c:pt idx="1">
                  <c:v>0.86</c:v>
                </c:pt>
                <c:pt idx="2">
                  <c:v>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C$2:$C$4</c:f>
              <c:numCache>
                <c:formatCode>General</c:formatCode>
                <c:ptCount val="3"/>
                <c:pt idx="0">
                  <c:v>0.89445951982424732</c:v>
                </c:pt>
                <c:pt idx="1">
                  <c:v>0.9910877231637578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D$2:$D$4</c:f>
              <c:numCache>
                <c:formatCode>General</c:formatCode>
                <c:ptCount val="3"/>
                <c:pt idx="0">
                  <c:v>22471.090909090908</c:v>
                </c:pt>
                <c:pt idx="1">
                  <c:v>2794.5</c:v>
                </c:pt>
                <c:pt idx="2">
                  <c:v>738.8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0.97</c:v>
                </c:pt>
                <c:pt idx="1">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C$2:$C$3</c:f>
              <c:numCache>
                <c:formatCode>General</c:formatCode>
                <c:ptCount val="2"/>
                <c:pt idx="0">
                  <c:v>0.94804676487873218</c:v>
                </c:pt>
                <c:pt idx="1">
                  <c:v>0.9994980015753438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SCHICK XTREME 3 SENSITIVE BLACK GREEN 3 BLADE DISPOSABLE SENSITIVE 20CT</c:v>
                </c:pt>
                <c:pt idx="1">
                  <c:v>SCHICK XTREME 3 SENSITIVE BLACK 3 BLADE DISPOSABLE SENSITIVE 20CT</c:v>
                </c:pt>
              </c:strCache>
            </c:strRef>
          </c:cat>
          <c:val>
            <c:numRef>
              <c:f>Sheet1!$D$2:$D$3</c:f>
              <c:numCache>
                <c:formatCode>General</c:formatCode>
                <c:ptCount val="2"/>
                <c:pt idx="0">
                  <c:v>90903.278350515466</c:v>
                </c:pt>
                <c:pt idx="1">
                  <c:v>6739.985915492958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12CT</c:v>
                </c:pt>
                <c:pt idx="6">
                  <c:v>SCHICK XTREME 3 SENSITIVE GREEN BLACK 3 BLADE DISPOSABLE SENSITIVE 4CT</c:v>
                </c:pt>
                <c:pt idx="7">
                  <c:v>SCHICK XTREME 3 SENSITIVE GREEN HOLIDAY GIFT PACK 3 BLADE DISPOSABLE SENSITIVE 8CT</c:v>
                </c:pt>
              </c:strCache>
            </c:strRef>
          </c:cat>
          <c:val>
            <c:numRef>
              <c:f>Sheet1!$B$2:$B$9</c:f>
              <c:numCache>
                <c:formatCode>General</c:formatCode>
                <c:ptCount val="8"/>
                <c:pt idx="0">
                  <c:v>0.94</c:v>
                </c:pt>
                <c:pt idx="1">
                  <c:v>0.87</c:v>
                </c:pt>
                <c:pt idx="2">
                  <c:v>0.95</c:v>
                </c:pt>
                <c:pt idx="3">
                  <c:v>0.68</c:v>
                </c:pt>
                <c:pt idx="4">
                  <c:v>0.84</c:v>
                </c:pt>
                <c:pt idx="5">
                  <c:v>0.64</c:v>
                </c:pt>
                <c:pt idx="6">
                  <c:v>0.88</c:v>
                </c:pt>
                <c:pt idx="7">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12CT</c:v>
                </c:pt>
                <c:pt idx="6">
                  <c:v>SCHICK XTREME 3 SENSITIVE GREEN BLACK 3 BLADE DISPOSABLE SENSITIVE 4CT</c:v>
                </c:pt>
                <c:pt idx="7">
                  <c:v>SCHICK XTREME 3 SENSITIVE GREEN HOLIDAY GIFT PACK 3 BLADE DISPOSABLE SENSITIVE 8CT</c:v>
                </c:pt>
              </c:strCache>
            </c:strRef>
          </c:cat>
          <c:val>
            <c:numRef>
              <c:f>Sheet1!$C$2:$C$9</c:f>
              <c:numCache>
                <c:formatCode>General</c:formatCode>
                <c:ptCount val="8"/>
                <c:pt idx="0">
                  <c:v>0.2954296139850448</c:v>
                </c:pt>
                <c:pt idx="1">
                  <c:v>0.54221521890091628</c:v>
                </c:pt>
                <c:pt idx="2">
                  <c:v>0.74933613018893153</c:v>
                </c:pt>
                <c:pt idx="3">
                  <c:v>0.91422744531969991</c:v>
                </c:pt>
                <c:pt idx="4">
                  <c:v>0.94478630365052918</c:v>
                </c:pt>
                <c:pt idx="5">
                  <c:v>0.97122464031698974</c:v>
                </c:pt>
                <c:pt idx="6">
                  <c:v>0.99736824322867168</c:v>
                </c:pt>
                <c:pt idx="7">
                  <c:v>0.9998813876352720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12CT</c:v>
                </c:pt>
                <c:pt idx="6">
                  <c:v>SCHICK XTREME 3 SENSITIVE GREEN BLACK 3 BLADE DISPOSABLE SENSITIVE 4CT</c:v>
                </c:pt>
                <c:pt idx="7">
                  <c:v>SCHICK XTREME 3 SENSITIVE GREEN HOLIDAY GIFT PACK 3 BLADE DISPOSABLE SENSITIVE 8CT</c:v>
                </c:pt>
              </c:strCache>
            </c:strRef>
          </c:cat>
          <c:val>
            <c:numRef>
              <c:f>Sheet1!$D$2:$D$9</c:f>
              <c:numCache>
                <c:formatCode>General</c:formatCode>
                <c:ptCount val="8"/>
                <c:pt idx="0">
                  <c:v>4372</c:v>
                </c:pt>
                <c:pt idx="1">
                  <c:v>3945.977011494253</c:v>
                </c:pt>
                <c:pt idx="2">
                  <c:v>3032.8736842105263</c:v>
                </c:pt>
                <c:pt idx="3">
                  <c:v>3373.205882352941</c:v>
                </c:pt>
                <c:pt idx="4">
                  <c:v>506.07142857142856</c:v>
                </c:pt>
                <c:pt idx="5">
                  <c:v>574.65625</c:v>
                </c:pt>
                <c:pt idx="6">
                  <c:v>413.27272727272725</c:v>
                </c:pt>
                <c:pt idx="7">
                  <c:v>87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strCache>
            </c:strRef>
          </c:cat>
          <c:val>
            <c:numRef>
              <c:f>Sheet1!$B$2:$B$7</c:f>
              <c:numCache>
                <c:formatCode>General</c:formatCode>
                <c:ptCount val="6"/>
                <c:pt idx="0">
                  <c:v>0.98</c:v>
                </c:pt>
                <c:pt idx="1">
                  <c:v>0.99</c:v>
                </c:pt>
                <c:pt idx="2">
                  <c:v>0.9</c:v>
                </c:pt>
                <c:pt idx="3">
                  <c:v>0.95</c:v>
                </c:pt>
                <c:pt idx="4">
                  <c:v>0.94</c:v>
                </c:pt>
                <c:pt idx="5">
                  <c:v>0.9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strCache>
            </c:strRef>
          </c:cat>
          <c:val>
            <c:numRef>
              <c:f>Sheet1!$C$2:$C$7</c:f>
              <c:numCache>
                <c:formatCode>General</c:formatCode>
                <c:ptCount val="6"/>
                <c:pt idx="0">
                  <c:v>0.34499240071029053</c:v>
                </c:pt>
                <c:pt idx="1">
                  <c:v>0.52219202975805656</c:v>
                </c:pt>
                <c:pt idx="2">
                  <c:v>0.66825077599181681</c:v>
                </c:pt>
                <c:pt idx="3">
                  <c:v>0.8028039758528519</c:v>
                </c:pt>
                <c:pt idx="4">
                  <c:v>0.93001432294109865</c:v>
                </c:pt>
                <c:pt idx="5">
                  <c:v>0.9999965884221282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strCache>
            </c:strRef>
          </c:cat>
          <c:val>
            <c:numRef>
              <c:f>Sheet1!$D$2:$D$7</c:f>
              <c:numCache>
                <c:formatCode>General</c:formatCode>
                <c:ptCount val="6"/>
                <c:pt idx="0">
                  <c:v>6191.2653061224491</c:v>
                </c:pt>
                <c:pt idx="1">
                  <c:v>3147.9191919191921</c:v>
                </c:pt>
                <c:pt idx="2">
                  <c:v>2854.1777777777779</c:v>
                </c:pt>
                <c:pt idx="3">
                  <c:v>2490.9578947368423</c:v>
                </c:pt>
                <c:pt idx="4">
                  <c:v>2380.0744680851062</c:v>
                </c:pt>
                <c:pt idx="5">
                  <c:v>1268.855670103092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strCache>
            </c:strRef>
          </c:cat>
          <c:val>
            <c:numRef>
              <c:f>Sheet1!$B$2:$B$8</c:f>
              <c:numCache>
                <c:formatCode>General</c:formatCode>
                <c:ptCount val="7"/>
                <c:pt idx="0">
                  <c:v>0.77</c:v>
                </c:pt>
                <c:pt idx="1">
                  <c:v>0.65</c:v>
                </c:pt>
                <c:pt idx="2">
                  <c:v>0.81</c:v>
                </c:pt>
                <c:pt idx="3">
                  <c:v>0.3</c:v>
                </c:pt>
                <c:pt idx="4">
                  <c:v>0.71</c:v>
                </c:pt>
                <c:pt idx="5">
                  <c:v>0.61</c:v>
                </c:pt>
                <c:pt idx="6">
                  <c:v>0.2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strCache>
            </c:strRef>
          </c:cat>
          <c:val>
            <c:numRef>
              <c:f>Sheet1!$C$2:$C$8</c:f>
              <c:numCache>
                <c:formatCode>General</c:formatCode>
                <c:ptCount val="7"/>
                <c:pt idx="0">
                  <c:v>0.28402402573563312</c:v>
                </c:pt>
                <c:pt idx="1">
                  <c:v>0.55813986625919698</c:v>
                </c:pt>
                <c:pt idx="2">
                  <c:v>0.79967629294231446</c:v>
                </c:pt>
                <c:pt idx="3">
                  <c:v>0.92188199360632461</c:v>
                </c:pt>
                <c:pt idx="4">
                  <c:v>0.9538059467551343</c:v>
                </c:pt>
                <c:pt idx="5">
                  <c:v>0.98497385700898699</c:v>
                </c:pt>
                <c:pt idx="6">
                  <c:v>0.999931268827731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strCache>
            </c:strRef>
          </c:cat>
          <c:val>
            <c:numRef>
              <c:f>Sheet1!$D$2:$D$8</c:f>
              <c:numCache>
                <c:formatCode>General</c:formatCode>
                <c:ptCount val="7"/>
                <c:pt idx="0">
                  <c:v>4400.727272727273</c:v>
                </c:pt>
                <c:pt idx="1">
                  <c:v>5031.3076923076924</c:v>
                </c:pt>
                <c:pt idx="2">
                  <c:v>3557.6049382716051</c:v>
                </c:pt>
                <c:pt idx="3">
                  <c:v>4859.9333333333334</c:v>
                </c:pt>
                <c:pt idx="4">
                  <c:v>536.43661971830988</c:v>
                </c:pt>
                <c:pt idx="5">
                  <c:v>609.59016393442619</c:v>
                </c:pt>
                <c:pt idx="6">
                  <c:v>743.5416666666666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strCache>
            </c:strRef>
          </c:cat>
          <c:val>
            <c:numRef>
              <c:f>Sheet1!$B$2:$B$8</c:f>
              <c:numCache>
                <c:formatCode>General</c:formatCode>
                <c:ptCount val="7"/>
                <c:pt idx="0">
                  <c:v>0.91</c:v>
                </c:pt>
                <c:pt idx="1">
                  <c:v>0.95</c:v>
                </c:pt>
                <c:pt idx="2">
                  <c:v>0.82</c:v>
                </c:pt>
                <c:pt idx="3">
                  <c:v>0.65</c:v>
                </c:pt>
                <c:pt idx="4">
                  <c:v>0.74</c:v>
                </c:pt>
                <c:pt idx="5">
                  <c:v>0.95</c:v>
                </c:pt>
                <c:pt idx="6">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strCache>
            </c:strRef>
          </c:cat>
          <c:val>
            <c:numRef>
              <c:f>Sheet1!$C$2:$C$8</c:f>
              <c:numCache>
                <c:formatCode>General</c:formatCode>
                <c:ptCount val="7"/>
                <c:pt idx="0">
                  <c:v>0.31763524223355327</c:v>
                </c:pt>
                <c:pt idx="1">
                  <c:v>0.49358674202648012</c:v>
                </c:pt>
                <c:pt idx="2">
                  <c:v>0.63468262502682338</c:v>
                </c:pt>
                <c:pt idx="3">
                  <c:v>0.77062241571760626</c:v>
                </c:pt>
                <c:pt idx="4">
                  <c:v>0.90067880333937822</c:v>
                </c:pt>
                <c:pt idx="5">
                  <c:v>0.99930574882052436</c:v>
                </c:pt>
                <c:pt idx="6">
                  <c:v>0.9999897815843713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strCache>
            </c:strRef>
          </c:cat>
          <c:val>
            <c:numRef>
              <c:f>Sheet1!$D$2:$D$8</c:f>
              <c:numCache>
                <c:formatCode>General</c:formatCode>
                <c:ptCount val="7"/>
                <c:pt idx="0">
                  <c:v>5807.0109890109889</c:v>
                </c:pt>
                <c:pt idx="1">
                  <c:v>3081.3052631578948</c:v>
                </c:pt>
                <c:pt idx="2">
                  <c:v>2862.6341463414633</c:v>
                </c:pt>
                <c:pt idx="3">
                  <c:v>3479.353846153846</c:v>
                </c:pt>
                <c:pt idx="4">
                  <c:v>2923.9189189189187</c:v>
                </c:pt>
                <c:pt idx="5">
                  <c:v>1727.1789473684209</c:v>
                </c:pt>
                <c:pt idx="6">
                  <c:v>189.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0.95</c:v>
                </c:pt>
                <c:pt idx="1">
                  <c:v>0.87</c:v>
                </c:pt>
                <c:pt idx="2">
                  <c:v>0.96</c:v>
                </c:pt>
                <c:pt idx="3">
                  <c:v>0.73</c:v>
                </c:pt>
                <c:pt idx="4">
                  <c:v>0.87</c:v>
                </c:pt>
                <c:pt idx="5">
                  <c:v>0.86</c:v>
                </c:pt>
                <c:pt idx="6">
                  <c:v>0.91</c:v>
                </c:pt>
                <c:pt idx="7">
                  <c:v>0.6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C$2:$C$9</c:f>
              <c:numCache>
                <c:formatCode>General</c:formatCode>
                <c:ptCount val="8"/>
                <c:pt idx="0">
                  <c:v>0.25348149249437868</c:v>
                </c:pt>
                <c:pt idx="1">
                  <c:v>0.47926159573329508</c:v>
                </c:pt>
                <c:pt idx="2">
                  <c:v>0.68960592400961007</c:v>
                </c:pt>
                <c:pt idx="3">
                  <c:v>0.84885242471980749</c:v>
                </c:pt>
                <c:pt idx="4">
                  <c:v>0.91730190143051626</c:v>
                </c:pt>
                <c:pt idx="5">
                  <c:v>0.94723800304031303</c:v>
                </c:pt>
                <c:pt idx="6">
                  <c:v>0.97532754311428205</c:v>
                </c:pt>
                <c:pt idx="7">
                  <c:v>0.9998897656518246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D$2:$D$9</c:f>
              <c:numCache>
                <c:formatCode>General</c:formatCode>
                <c:ptCount val="8"/>
                <c:pt idx="0">
                  <c:v>44077.368421052633</c:v>
                </c:pt>
                <c:pt idx="1">
                  <c:v>42870.586206896551</c:v>
                </c:pt>
                <c:pt idx="2">
                  <c:v>36195.333333333336</c:v>
                </c:pt>
                <c:pt idx="3">
                  <c:v>36036.28767123288</c:v>
                </c:pt>
                <c:pt idx="4">
                  <c:v>12997.022988505747</c:v>
                </c:pt>
                <c:pt idx="5">
                  <c:v>5750.2906976744189</c:v>
                </c:pt>
                <c:pt idx="6">
                  <c:v>5099.131868131868</c:v>
                </c:pt>
                <c:pt idx="7">
                  <c:v>6147.75757575757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strCache>
            </c:strRef>
          </c:cat>
          <c:val>
            <c:numRef>
              <c:f>Sheet1!$B$2:$B$7</c:f>
              <c:numCache>
                <c:formatCode>General</c:formatCode>
                <c:ptCount val="6"/>
                <c:pt idx="0">
                  <c:v>0.99</c:v>
                </c:pt>
                <c:pt idx="1">
                  <c:v>0.99</c:v>
                </c:pt>
                <c:pt idx="2">
                  <c:v>0.93</c:v>
                </c:pt>
                <c:pt idx="3">
                  <c:v>0.97</c:v>
                </c:pt>
                <c:pt idx="4">
                  <c:v>0.95</c:v>
                </c:pt>
                <c:pt idx="5">
                  <c:v>0.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strCache>
            </c:strRef>
          </c:cat>
          <c:val>
            <c:numRef>
              <c:f>Sheet1!$C$2:$C$7</c:f>
              <c:numCache>
                <c:formatCode>General</c:formatCode>
                <c:ptCount val="6"/>
                <c:pt idx="0">
                  <c:v>0.35635175849352624</c:v>
                </c:pt>
                <c:pt idx="1">
                  <c:v>0.5082632969156593</c:v>
                </c:pt>
                <c:pt idx="2">
                  <c:v>0.65486425136676807</c:v>
                </c:pt>
                <c:pt idx="3">
                  <c:v>0.80026944023153324</c:v>
                </c:pt>
                <c:pt idx="4">
                  <c:v>0.93131954744108747</c:v>
                </c:pt>
                <c:pt idx="5">
                  <c:v>0.9998915577218645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strCache>
            </c:strRef>
          </c:cat>
          <c:val>
            <c:numRef>
              <c:f>Sheet1!$D$2:$D$7</c:f>
              <c:numCache>
                <c:formatCode>General</c:formatCode>
                <c:ptCount val="6"/>
                <c:pt idx="0">
                  <c:v>76941.121212121216</c:v>
                </c:pt>
                <c:pt idx="1">
                  <c:v>32799.737373737371</c:v>
                </c:pt>
                <c:pt idx="2">
                  <c:v>33695.247311827959</c:v>
                </c:pt>
                <c:pt idx="3">
                  <c:v>32042.247422680412</c:v>
                </c:pt>
                <c:pt idx="4">
                  <c:v>29486.863157894735</c:v>
                </c:pt>
                <c:pt idx="5">
                  <c:v>14956.6938775510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HYDRO 5 SENSITIVE 5 BLADE RAZOR SENSITIVE 3CT</c:v>
                </c:pt>
                <c:pt idx="1">
                  <c:v>HYDRO 5 SENSITIVE GRAY HOLIDAY GIFT PACK 5 BLADE RAZOR SENSITIVE 3CT</c:v>
                </c:pt>
                <c:pt idx="2">
                  <c:v>SCHICK HYDRO 3 SENSITIVE 3 BLADE RAZOR SENSITIVE 4CT</c:v>
                </c:pt>
                <c:pt idx="3">
                  <c:v>HYDRO 5 DRY SKIN 5 BLADE RAZOR DRY 2CT</c:v>
                </c:pt>
              </c:strCache>
            </c:strRef>
          </c:cat>
          <c:val>
            <c:numRef>
              <c:f>Sheet1!$B$2:$B$5</c:f>
              <c:numCache>
                <c:formatCode>General</c:formatCode>
                <c:ptCount val="4"/>
                <c:pt idx="0">
                  <c:v>0.85199999999999998</c:v>
                </c:pt>
                <c:pt idx="1">
                  <c:v>0.79300000000000004</c:v>
                </c:pt>
                <c:pt idx="2">
                  <c:v>5.6000000000000001E-2</c:v>
                </c:pt>
                <c:pt idx="3">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HYDRO 5 SENSITIVE 5 BLADE RAZOR SENSITIVE 3CT</c:v>
                </c:pt>
                <c:pt idx="1">
                  <c:v>HYDRO 5 SENSITIVE GRAY HOLIDAY GIFT PACK 5 BLADE RAZOR SENSITIVE 3CT</c:v>
                </c:pt>
                <c:pt idx="2">
                  <c:v>SCHICK HYDRO 3 SENSITIVE 3 BLADE RAZOR SENSITIVE 4CT</c:v>
                </c:pt>
                <c:pt idx="3">
                  <c:v>HYDRO 5 DRY SKIN 5 BLADE RAZOR DRY 2CT</c:v>
                </c:pt>
              </c:strCache>
            </c:strRef>
          </c:cat>
          <c:val>
            <c:numRef>
              <c:f>Sheet1!$C$2:$C$5</c:f>
              <c:numCache>
                <c:formatCode>General</c:formatCode>
                <c:ptCount val="4"/>
                <c:pt idx="0">
                  <c:v>0.73747458417331369</c:v>
                </c:pt>
                <c:pt idx="1">
                  <c:v>0.97817856171816908</c:v>
                </c:pt>
                <c:pt idx="2">
                  <c:v>0.99936717705315448</c:v>
                </c:pt>
                <c:pt idx="3">
                  <c:v>0.999898062858646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HYDRO 5 SENSITIVE 5 BLADE RAZOR SENSITIVE 3CT</c:v>
                </c:pt>
                <c:pt idx="1">
                  <c:v>HYDRO 5 SENSITIVE GRAY HOLIDAY GIFT PACK 5 BLADE RAZOR SENSITIVE 3CT</c:v>
                </c:pt>
                <c:pt idx="2">
                  <c:v>SCHICK HYDRO 3 SENSITIVE 3 BLADE RAZOR SENSITIVE 4CT</c:v>
                </c:pt>
                <c:pt idx="3">
                  <c:v>HYDRO 5 DRY SKIN 5 BLADE RAZOR DRY 2CT</c:v>
                </c:pt>
              </c:strCache>
            </c:strRef>
          </c:cat>
          <c:val>
            <c:numRef>
              <c:f>Sheet1!$D$2:$D$5</c:f>
              <c:numCache>
                <c:formatCode>General</c:formatCode>
                <c:ptCount val="4"/>
                <c:pt idx="0">
                  <c:v>48994.894366197179</c:v>
                </c:pt>
                <c:pt idx="1">
                  <c:v>17181.197982345522</c:v>
                </c:pt>
                <c:pt idx="2">
                  <c:v>21416.964285714283</c:v>
                </c:pt>
                <c:pt idx="3">
                  <c:v>125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3591446079632776</c:v>
                </c:pt>
                <c:pt idx="1">
                  <c:v>0.18718514906711023</c:v>
                </c:pt>
                <c:pt idx="2">
                  <c:v>0.15428671126987742</c:v>
                </c:pt>
                <c:pt idx="3">
                  <c:v>0.11923581654717222</c:v>
                </c:pt>
                <c:pt idx="4">
                  <c:v>3.37786231951242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667606958157032</c:v>
                </c:pt>
                <c:pt idx="1">
                  <c:v>0.26774800188058301</c:v>
                </c:pt>
                <c:pt idx="2">
                  <c:v>0.13657733897508231</c:v>
                </c:pt>
                <c:pt idx="3">
                  <c:v>0.16008462623413261</c:v>
                </c:pt>
                <c:pt idx="4">
                  <c:v>2.89139633286318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5884511303778013</c:v>
                </c:pt>
                <c:pt idx="1">
                  <c:v>1.430391263489547</c:v>
                </c:pt>
                <c:pt idx="2">
                  <c:v>0.88521777313784356</c:v>
                </c:pt>
                <c:pt idx="3">
                  <c:v>1.3425884173888283</c:v>
                </c:pt>
                <c:pt idx="4">
                  <c:v>8.559840690252126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75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410386049734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31615.1131824234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AZOR NORMAL 2CT</c:v>
                </c:pt>
              </c:strCache>
            </c:strRef>
          </c:cat>
          <c:val>
            <c:numRef>
              <c:f>Sheet1!$B$2:$B$2</c:f>
              <c:numCache>
                <c:formatCode>General</c:formatCode>
                <c:ptCount val="1"/>
                <c:pt idx="0">
                  <c:v>0.117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AZOR NORMAL 2CT</c:v>
                </c:pt>
              </c:strCache>
            </c:strRef>
          </c:cat>
          <c:val>
            <c:numRef>
              <c:f>Sheet1!$C$2:$C$2</c:f>
              <c:numCache>
                <c:formatCode>General</c:formatCode>
                <c:ptCount val="1"/>
                <c:pt idx="0">
                  <c:v>0.9946595609467850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AZOR NORMAL 2CT</c:v>
                </c:pt>
              </c:strCache>
            </c:strRef>
          </c:cat>
          <c:val>
            <c:numRef>
              <c:f>Sheet1!$D$2:$D$2</c:f>
              <c:numCache>
                <c:formatCode>General</c:formatCode>
                <c:ptCount val="1"/>
                <c:pt idx="0">
                  <c:v>7625.128205128204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HYDRO 5 SENSITIVE 5 BLADE RAZOR SENSITIVE 3CT</c:v>
                </c:pt>
                <c:pt idx="1">
                  <c:v>SCHICK HYDRO 3 SENSITIVE 3 BLADE RAZOR SENSITIVE 4CT</c:v>
                </c:pt>
                <c:pt idx="2">
                  <c:v>HYDRO 5 SENSITIVE GRAY HOLIDAY GIFT PACK 5 BLADE RAZOR SENSITIVE 3CT</c:v>
                </c:pt>
                <c:pt idx="3">
                  <c:v>HYDRO 5 DRY SKIN 5 BLADE RAZOR DRY 2CT</c:v>
                </c:pt>
              </c:strCache>
            </c:strRef>
          </c:cat>
          <c:val>
            <c:numRef>
              <c:f>Sheet1!$B$2:$B$5</c:f>
              <c:numCache>
                <c:formatCode>General</c:formatCode>
                <c:ptCount val="4"/>
                <c:pt idx="0">
                  <c:v>0.83</c:v>
                </c:pt>
                <c:pt idx="1">
                  <c:v>0.05</c:v>
                </c:pt>
                <c:pt idx="2">
                  <c:v>0.04</c:v>
                </c:pt>
                <c:pt idx="3">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HYDRO 5 SENSITIVE 5 BLADE RAZOR SENSITIVE 3CT</c:v>
                </c:pt>
                <c:pt idx="1">
                  <c:v>SCHICK HYDRO 3 SENSITIVE 3 BLADE RAZOR SENSITIVE 4CT</c:v>
                </c:pt>
                <c:pt idx="2">
                  <c:v>HYDRO 5 SENSITIVE GRAY HOLIDAY GIFT PACK 5 BLADE RAZOR SENSITIVE 3CT</c:v>
                </c:pt>
                <c:pt idx="3">
                  <c:v>HYDRO 5 DRY SKIN 5 BLADE RAZOR DRY 2CT</c:v>
                </c:pt>
              </c:strCache>
            </c:strRef>
          </c:cat>
          <c:val>
            <c:numRef>
              <c:f>Sheet1!$C$2:$C$5</c:f>
              <c:numCache>
                <c:formatCode>General</c:formatCode>
                <c:ptCount val="4"/>
                <c:pt idx="0">
                  <c:v>0.96677268843164654</c:v>
                </c:pt>
                <c:pt idx="1">
                  <c:v>0.98371356490837825</c:v>
                </c:pt>
                <c:pt idx="2">
                  <c:v>0.99856226348556165</c:v>
                </c:pt>
                <c:pt idx="3">
                  <c:v>0.9992811317427808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HYDRO 5 SENSITIVE 5 BLADE RAZOR SENSITIVE 3CT</c:v>
                </c:pt>
                <c:pt idx="1">
                  <c:v>SCHICK HYDRO 3 SENSITIVE 3 BLADE RAZOR SENSITIVE 4CT</c:v>
                </c:pt>
                <c:pt idx="2">
                  <c:v>HYDRO 5 SENSITIVE GRAY HOLIDAY GIFT PACK 5 BLADE RAZOR SENSITIVE 3CT</c:v>
                </c:pt>
                <c:pt idx="3">
                  <c:v>HYDRO 5 DRY SKIN 5 BLADE RAZOR DRY 2CT</c:v>
                </c:pt>
              </c:strCache>
            </c:strRef>
          </c:cat>
          <c:val>
            <c:numRef>
              <c:f>Sheet1!$D$2:$D$5</c:f>
              <c:numCache>
                <c:formatCode>General</c:formatCode>
                <c:ptCount val="4"/>
                <c:pt idx="0">
                  <c:v>3435.0481927710844</c:v>
                </c:pt>
                <c:pt idx="1">
                  <c:v>999.2</c:v>
                </c:pt>
                <c:pt idx="2">
                  <c:v>1094.75</c:v>
                </c:pt>
                <c:pt idx="3">
                  <c:v>2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8696898618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2192.5428571428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AZOR NORMAL 2CT</c:v>
                </c:pt>
              </c:strCache>
            </c:strRef>
          </c:cat>
          <c:val>
            <c:numRef>
              <c:f>Sheet1!$B$2:$B$2</c:f>
              <c:numCache>
                <c:formatCode>General</c:formatCode>
                <c:ptCount val="1"/>
                <c:pt idx="0">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AZOR NORMAL 2CT</c:v>
                </c:pt>
              </c:strCache>
            </c:strRef>
          </c:cat>
          <c:val>
            <c:numRef>
              <c:f>Sheet1!$C$2:$C$2</c:f>
              <c:numCache>
                <c:formatCode>General</c:formatCode>
                <c:ptCount val="1"/>
                <c:pt idx="0">
                  <c:v>0.9776582540339262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AZOR NORMAL 2CT</c:v>
                </c:pt>
              </c:strCache>
            </c:strRef>
          </c:cat>
          <c:val>
            <c:numRef>
              <c:f>Sheet1!$D$2:$D$2</c:f>
              <c:numCache>
                <c:formatCode>General</c:formatCode>
                <c:ptCount val="1"/>
                <c:pt idx="0">
                  <c:v>47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HYDRO 5 SENSITIVE 5 BLADE RAZOR SENSITIVE 3CT</c:v>
                </c:pt>
              </c:strCache>
            </c:strRef>
          </c:cat>
          <c:val>
            <c:numRef>
              <c:f>Sheet1!$B$2:$B$2</c:f>
              <c:numCache>
                <c:formatCode>General</c:formatCode>
                <c:ptCount val="1"/>
                <c:pt idx="0">
                  <c:v>0.6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HYDRO 5 SENSITIVE 5 BLADE RAZOR SENSITIVE 3CT</c:v>
                </c:pt>
              </c:strCache>
            </c:strRef>
          </c:cat>
          <c:val>
            <c:numRef>
              <c:f>Sheet1!$C$2:$C$2</c:f>
              <c:numCache>
                <c:formatCode>General</c:formatCode>
                <c:ptCount val="1"/>
                <c:pt idx="0">
                  <c:v>0.9992333407006299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HYDRO 5 SENSITIVE 5 BLADE RAZOR SENSITIVE 3CT</c:v>
                </c:pt>
              </c:strCache>
            </c:strRef>
          </c:cat>
          <c:val>
            <c:numRef>
              <c:f>Sheet1!$D$2:$D$2</c:f>
              <c:numCache>
                <c:formatCode>General</c:formatCode>
                <c:ptCount val="1"/>
                <c:pt idx="0">
                  <c:v>4743.3770491803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5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25738049538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3302.698113207547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HYDRO 5 SENSITIVE 5 BLADE RAZOR SENSITIVE 3CT</c:v>
                </c:pt>
                <c:pt idx="1">
                  <c:v>HYDRO 5 SENSITIVE GRAY HOLIDAY GIFT PACK 5 BLADE RAZOR SENSITIVE 3CT</c:v>
                </c:pt>
                <c:pt idx="2">
                  <c:v>SCHICK HYDRO 3 SENSITIVE 3 BLADE RAZOR SENSITIVE 4CT</c:v>
                </c:pt>
              </c:strCache>
            </c:strRef>
          </c:cat>
          <c:val>
            <c:numRef>
              <c:f>Sheet1!$B$2:$B$4</c:f>
              <c:numCache>
                <c:formatCode>General</c:formatCode>
                <c:ptCount val="3"/>
                <c:pt idx="0">
                  <c:v>0.87</c:v>
                </c:pt>
                <c:pt idx="1">
                  <c:v>0.91</c:v>
                </c:pt>
                <c:pt idx="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HYDRO 5 SENSITIVE 5 BLADE RAZOR SENSITIVE 3CT</c:v>
                </c:pt>
                <c:pt idx="1">
                  <c:v>HYDRO 5 SENSITIVE GRAY HOLIDAY GIFT PACK 5 BLADE RAZOR SENSITIVE 3CT</c:v>
                </c:pt>
                <c:pt idx="2">
                  <c:v>SCHICK HYDRO 3 SENSITIVE 3 BLADE RAZOR SENSITIVE 4CT</c:v>
                </c:pt>
              </c:strCache>
            </c:strRef>
          </c:cat>
          <c:val>
            <c:numRef>
              <c:f>Sheet1!$C$2:$C$4</c:f>
              <c:numCache>
                <c:formatCode>General</c:formatCode>
                <c:ptCount val="3"/>
                <c:pt idx="0">
                  <c:v>0.70921959268106483</c:v>
                </c:pt>
                <c:pt idx="1">
                  <c:v>0.97677464476568077</c:v>
                </c:pt>
                <c:pt idx="2">
                  <c:v>0.9994101509591941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HYDRO 5 SENSITIVE 5 BLADE RAZOR SENSITIVE 3CT</c:v>
                </c:pt>
                <c:pt idx="1">
                  <c:v>HYDRO 5 SENSITIVE GRAY HOLIDAY GIFT PACK 5 BLADE RAZOR SENSITIVE 3CT</c:v>
                </c:pt>
                <c:pt idx="2">
                  <c:v>SCHICK HYDRO 3 SENSITIVE 3 BLADE RAZOR SENSITIVE 4CT</c:v>
                </c:pt>
              </c:strCache>
            </c:strRef>
          </c:cat>
          <c:val>
            <c:numRef>
              <c:f>Sheet1!$D$2:$D$4</c:f>
              <c:numCache>
                <c:formatCode>General</c:formatCode>
                <c:ptCount val="3"/>
                <c:pt idx="0">
                  <c:v>41378.275862068964</c:v>
                </c:pt>
                <c:pt idx="1">
                  <c:v>14923.912087912087</c:v>
                </c:pt>
                <c:pt idx="2">
                  <c:v>19149.1666666666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7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389021647695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26568.4935064935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AZOR NORMAL 2CT</c:v>
                </c:pt>
              </c:strCache>
            </c:strRef>
          </c:cat>
          <c:val>
            <c:numRef>
              <c:f>Sheet1!$B$2:$B$2</c:f>
              <c:numCache>
                <c:formatCode>General</c:formatCode>
                <c:ptCount val="1"/>
                <c:pt idx="0">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AZOR NORMAL 2CT</c:v>
                </c:pt>
              </c:strCache>
            </c:strRef>
          </c:cat>
          <c:val>
            <c:numRef>
              <c:f>Sheet1!$C$2:$C$2</c:f>
              <c:numCache>
                <c:formatCode>General</c:formatCode>
                <c:ptCount val="1"/>
                <c:pt idx="0">
                  <c:v>0.9951303909436729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AZOR NORMAL 2CT</c:v>
                </c:pt>
              </c:strCache>
            </c:strRef>
          </c:cat>
          <c:val>
            <c:numRef>
              <c:f>Sheet1!$D$2:$D$2</c:f>
              <c:numCache>
                <c:formatCode>General</c:formatCode>
                <c:ptCount val="1"/>
                <c:pt idx="0">
                  <c:v>6680.84615384615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B$2:$B$9</c:f>
              <c:numCache>
                <c:formatCode>General</c:formatCode>
                <c:ptCount val="8"/>
                <c:pt idx="0">
                  <c:v>0.64845903530310278</c:v>
                </c:pt>
                <c:pt idx="1">
                  <c:v>0.20224109939179227</c:v>
                </c:pt>
                <c:pt idx="2">
                  <c:v>5.1430100632834493E-2</c:v>
                </c:pt>
                <c:pt idx="3">
                  <c:v>4.5583978383688155E-2</c:v>
                </c:pt>
                <c:pt idx="4">
                  <c:v>2.9879671567027418E-2</c:v>
                </c:pt>
                <c:pt idx="5">
                  <c:v>2.1574179939746557E-2</c:v>
                </c:pt>
                <c:pt idx="6">
                  <c:v>8.1495299780187202E-4</c:v>
                </c:pt>
                <c:pt idx="7">
                  <c:v>1.6981784006463146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C$2:$C$9</c:f>
              <c:numCache>
                <c:formatCode>General</c:formatCode>
                <c:ptCount val="8"/>
                <c:pt idx="0">
                  <c:v>0.60724196580431455</c:v>
                </c:pt>
                <c:pt idx="1">
                  <c:v>0.18248142511861065</c:v>
                </c:pt>
                <c:pt idx="2">
                  <c:v>7.6179393071345428E-2</c:v>
                </c:pt>
                <c:pt idx="3">
                  <c:v>6.8078059260585425E-2</c:v>
                </c:pt>
                <c:pt idx="4">
                  <c:v>2.7168561453764204E-2</c:v>
                </c:pt>
                <c:pt idx="5">
                  <c:v>3.3613821502103652E-2</c:v>
                </c:pt>
                <c:pt idx="6">
                  <c:v>5.236773789275802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D$2:$D$9</c:f>
              <c:numCache>
                <c:formatCode>General</c:formatCode>
                <c:ptCount val="8"/>
                <c:pt idx="0">
                  <c:v>0.93643843750357714</c:v>
                </c:pt>
                <c:pt idx="1">
                  <c:v>0.90229644551673382</c:v>
                </c:pt>
                <c:pt idx="2">
                  <c:v>1.4812219329532141</c:v>
                </c:pt>
                <c:pt idx="3">
                  <c:v>1.4934646267063558</c:v>
                </c:pt>
                <c:pt idx="4">
                  <c:v>0.90926573248365428</c:v>
                </c:pt>
                <c:pt idx="5">
                  <c:v>1.5580579005080148</c:v>
                </c:pt>
                <c:pt idx="6">
                  <c:v>6.4258599003877084</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B$2:$B$5</c:f>
              <c:numCache>
                <c:formatCode>General</c:formatCode>
                <c:ptCount val="4"/>
                <c:pt idx="0">
                  <c:v>0.78500000000000003</c:v>
                </c:pt>
                <c:pt idx="1">
                  <c:v>0.44800000000000001</c:v>
                </c:pt>
                <c:pt idx="2">
                  <c:v>4.5999999999999999E-2</c:v>
                </c:pt>
                <c:pt idx="3">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C$2:$C$5</c:f>
              <c:numCache>
                <c:formatCode>General</c:formatCode>
                <c:ptCount val="4"/>
                <c:pt idx="0">
                  <c:v>0.60463353381339924</c:v>
                </c:pt>
                <c:pt idx="1">
                  <c:v>0.98776131543492451</c:v>
                </c:pt>
                <c:pt idx="2">
                  <c:v>0.99914314690832917</c:v>
                </c:pt>
                <c:pt idx="3">
                  <c:v>0.999778303048254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D$2:$D$5</c:f>
              <c:numCache>
                <c:formatCode>General</c:formatCode>
                <c:ptCount val="4"/>
                <c:pt idx="0">
                  <c:v>68443.006369426745</c:v>
                </c:pt>
                <c:pt idx="1">
                  <c:v>75992.745535714275</c:v>
                </c:pt>
                <c:pt idx="2">
                  <c:v>21986.739130434784</c:v>
                </c:pt>
                <c:pt idx="3">
                  <c:v>564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84499999999999997</c:v>
                </c:pt>
                <c:pt idx="1">
                  <c:v>0.58399999999999996</c:v>
                </c:pt>
                <c:pt idx="2">
                  <c:v>0.6889999999999999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60777798250155568</c:v>
                </c:pt>
                <c:pt idx="1">
                  <c:v>0.90630942323209851</c:v>
                </c:pt>
                <c:pt idx="2">
                  <c:v>0.9998390950696102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54222.520710059172</c:v>
                </c:pt>
                <c:pt idx="1">
                  <c:v>38536.181506849316</c:v>
                </c:pt>
                <c:pt idx="2">
                  <c:v>10233.43976777939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EFILL NORMAL 4CT</c:v>
                </c:pt>
              </c:strCache>
            </c:strRef>
          </c:cat>
          <c:val>
            <c:numRef>
              <c:f>Sheet1!$B$2:$B$2</c:f>
              <c:numCache>
                <c:formatCode>General</c:formatCode>
                <c:ptCount val="1"/>
                <c:pt idx="0">
                  <c:v>6.4000000000000001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EFILL NORMAL 4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EFILL NORMAL 4CT</c:v>
                </c:pt>
              </c:strCache>
            </c:strRef>
          </c:cat>
          <c:val>
            <c:numRef>
              <c:f>Sheet1!$D$2:$D$2</c:f>
              <c:numCache>
                <c:formatCode>General</c:formatCode>
                <c:ptCount val="1"/>
                <c:pt idx="0">
                  <c:v>675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B$2:$B$5</c:f>
              <c:numCache>
                <c:formatCode>General</c:formatCode>
                <c:ptCount val="4"/>
                <c:pt idx="0">
                  <c:v>0.79</c:v>
                </c:pt>
                <c:pt idx="1">
                  <c:v>0.31</c:v>
                </c:pt>
                <c:pt idx="2">
                  <c:v>0.04</c:v>
                </c:pt>
                <c:pt idx="3">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C$2:$C$5</c:f>
              <c:numCache>
                <c:formatCode>General</c:formatCode>
                <c:ptCount val="4"/>
                <c:pt idx="0">
                  <c:v>0.6815987890828249</c:v>
                </c:pt>
                <c:pt idx="1">
                  <c:v>0.99102218438106049</c:v>
                </c:pt>
                <c:pt idx="2">
                  <c:v>0.99901234567901231</c:v>
                </c:pt>
                <c:pt idx="3">
                  <c:v>0.99985620358545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D$2:$D$5</c:f>
              <c:numCache>
                <c:formatCode>General</c:formatCode>
                <c:ptCount val="4"/>
                <c:pt idx="0">
                  <c:v>4560.0253164556962</c:v>
                </c:pt>
                <c:pt idx="1">
                  <c:v>5275.4193548387093</c:v>
                </c:pt>
                <c:pt idx="2">
                  <c:v>1055.75</c:v>
                </c:pt>
                <c:pt idx="3">
                  <c:v>44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83</c:v>
                </c:pt>
                <c:pt idx="1">
                  <c:v>0.54</c:v>
                </c:pt>
                <c:pt idx="2">
                  <c:v>0.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59693520416206847</c:v>
                </c:pt>
                <c:pt idx="1">
                  <c:v>0.89486573125229918</c:v>
                </c:pt>
                <c:pt idx="2">
                  <c:v>0.9997982027431815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3421.4096385542171</c:v>
                </c:pt>
                <c:pt idx="1">
                  <c:v>2624.6851851851852</c:v>
                </c:pt>
                <c:pt idx="2">
                  <c:v>745.059701492537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EFILL NORMAL 4CT</c:v>
                </c:pt>
              </c:strCache>
            </c:strRef>
          </c:cat>
          <c:val>
            <c:numRef>
              <c:f>Sheet1!$B$2:$B$2</c:f>
              <c:numCache>
                <c:formatCode>General</c:formatCode>
                <c:ptCount val="1"/>
                <c:pt idx="0">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EFILL NORMAL 4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EFILL NORMAL 4CT</c:v>
                </c:pt>
              </c:strCache>
            </c:strRef>
          </c:cat>
          <c:val>
            <c:numRef>
              <c:f>Sheet1!$D$2:$D$2</c:f>
              <c:numCache>
                <c:formatCode>General</c:formatCode>
                <c:ptCount val="1"/>
                <c:pt idx="0">
                  <c:v>30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HYDRO 5 SENSITIVE 5 BLADE REFILL SENSITIVE 6CT</c:v>
                </c:pt>
                <c:pt idx="1">
                  <c:v>HYDRO 5 SENSITIVE 5 BLADE REFILL SENSITIVE 4CT</c:v>
                </c:pt>
              </c:strCache>
            </c:strRef>
          </c:cat>
          <c:val>
            <c:numRef>
              <c:f>Sheet1!$B$2:$B$3</c:f>
              <c:numCache>
                <c:formatCode>General</c:formatCode>
                <c:ptCount val="2"/>
                <c:pt idx="0">
                  <c:v>0.56000000000000005</c:v>
                </c:pt>
                <c:pt idx="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HYDRO 5 SENSITIVE 5 BLADE REFILL SENSITIVE 6CT</c:v>
                </c:pt>
                <c:pt idx="1">
                  <c:v>HYDRO 5 SENSITIVE 5 BLADE REFILL SENSITIVE 4CT</c:v>
                </c:pt>
              </c:strCache>
            </c:strRef>
          </c:cat>
          <c:val>
            <c:numRef>
              <c:f>Sheet1!$C$2:$C$3</c:f>
              <c:numCache>
                <c:formatCode>General</c:formatCode>
                <c:ptCount val="2"/>
                <c:pt idx="0">
                  <c:v>0.99570304801345044</c:v>
                </c:pt>
                <c:pt idx="1">
                  <c:v>0.9999683689831113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HYDRO 5 SENSITIVE 5 BLADE REFILL SENSITIVE 6CT</c:v>
                </c:pt>
                <c:pt idx="1">
                  <c:v>HYDRO 5 SENSITIVE 5 BLADE REFILL SENSITIVE 4CT</c:v>
                </c:pt>
              </c:strCache>
            </c:strRef>
          </c:cat>
          <c:val>
            <c:numRef>
              <c:f>Sheet1!$D$2:$D$3</c:f>
              <c:numCache>
                <c:formatCode>General</c:formatCode>
                <c:ptCount val="2"/>
                <c:pt idx="0">
                  <c:v>7307.5535714285706</c:v>
                </c:pt>
                <c:pt idx="1">
                  <c:v>8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65</c:v>
                </c:pt>
                <c:pt idx="1">
                  <c:v>0.4</c:v>
                </c:pt>
                <c:pt idx="2">
                  <c:v>0.4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63847049341810691</c:v>
                </c:pt>
                <c:pt idx="1">
                  <c:v>0.90606847556789349</c:v>
                </c:pt>
                <c:pt idx="2">
                  <c:v>0.9997592111678258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4936.0153846153844</c:v>
                </c:pt>
                <c:pt idx="1">
                  <c:v>3361.8</c:v>
                </c:pt>
                <c:pt idx="2">
                  <c:v>1148.317073170731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B$2:$B$5</c:f>
              <c:numCache>
                <c:formatCode>General</c:formatCode>
                <c:ptCount val="4"/>
                <c:pt idx="0">
                  <c:v>0.8</c:v>
                </c:pt>
                <c:pt idx="1">
                  <c:v>0.49</c:v>
                </c:pt>
                <c:pt idx="2">
                  <c:v>0.05</c:v>
                </c:pt>
                <c:pt idx="3">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C$2:$C$5</c:f>
              <c:numCache>
                <c:formatCode>General</c:formatCode>
                <c:ptCount val="4"/>
                <c:pt idx="0">
                  <c:v>0.57928859156684276</c:v>
                </c:pt>
                <c:pt idx="1">
                  <c:v>0.98701867113656472</c:v>
                </c:pt>
                <c:pt idx="2">
                  <c:v>0.99921348922606079</c:v>
                </c:pt>
                <c:pt idx="3">
                  <c:v>0.9997620333002369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D$2:$D$5</c:f>
              <c:numCache>
                <c:formatCode>General</c:formatCode>
                <c:ptCount val="4"/>
                <c:pt idx="0">
                  <c:v>57541.387499999997</c:v>
                </c:pt>
                <c:pt idx="1">
                  <c:v>66122.918367346938</c:v>
                </c:pt>
                <c:pt idx="2">
                  <c:v>19381.2</c:v>
                </c:pt>
                <c:pt idx="3">
                  <c:v>435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86</c:v>
                </c:pt>
                <c:pt idx="1">
                  <c:v>0.6</c:v>
                </c:pt>
                <c:pt idx="2">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6062132442774214</c:v>
                </c:pt>
                <c:pt idx="1">
                  <c:v>0.90715771801389944</c:v>
                </c:pt>
                <c:pt idx="2">
                  <c:v>0.9998481793641915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46244.011627906977</c:v>
                </c:pt>
                <c:pt idx="1">
                  <c:v>32905.133333333331</c:v>
                </c:pt>
                <c:pt idx="2">
                  <c:v>8564.563380281690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B$2:$B$6</c:f>
              <c:numCache>
                <c:formatCode>General</c:formatCode>
                <c:ptCount val="5"/>
                <c:pt idx="0">
                  <c:v>0.8391616314870245</c:v>
                </c:pt>
                <c:pt idx="1">
                  <c:v>8.0330250724088836E-2</c:v>
                </c:pt>
                <c:pt idx="2">
                  <c:v>6.5429725633512126E-2</c:v>
                </c:pt>
                <c:pt idx="3">
                  <c:v>1.1916705761139099E-2</c:v>
                </c:pt>
                <c:pt idx="4">
                  <c:v>3.16168639423538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C$2:$C$6</c:f>
              <c:numCache>
                <c:formatCode>General</c:formatCode>
                <c:ptCount val="5"/>
                <c:pt idx="0">
                  <c:v>0.61971830985915499</c:v>
                </c:pt>
                <c:pt idx="1">
                  <c:v>0.15937731653076354</c:v>
                </c:pt>
                <c:pt idx="2">
                  <c:v>7.3387694588584143E-2</c:v>
                </c:pt>
                <c:pt idx="3">
                  <c:v>5.9303187546330627E-2</c:v>
                </c:pt>
                <c:pt idx="4">
                  <c:v>8.821349147516678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D$2:$D$6</c:f>
              <c:numCache>
                <c:formatCode>General</c:formatCode>
                <c:ptCount val="5"/>
                <c:pt idx="0">
                  <c:v>0.73849695530167647</c:v>
                </c:pt>
                <c:pt idx="1">
                  <c:v>1.9840261308056724</c:v>
                </c:pt>
                <c:pt idx="2">
                  <c:v>1.121626200905175</c:v>
                </c:pt>
                <c:pt idx="3">
                  <c:v>4.9764749365316145</c:v>
                </c:pt>
                <c:pt idx="4">
                  <c:v>27.9007720803694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68107556181751516</c:v>
                </c:pt>
                <c:pt idx="1">
                  <c:v>0.313926510063266</c:v>
                </c:pt>
                <c:pt idx="2">
                  <c:v>4.997928119218840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63882618510158018</c:v>
                </c:pt>
                <c:pt idx="1">
                  <c:v>0.2234762979683973</c:v>
                </c:pt>
                <c:pt idx="2">
                  <c:v>0.137697516930022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0.93796668228237634</c:v>
                </c:pt>
                <c:pt idx="1">
                  <c:v>0.71187456555790662</c:v>
                </c:pt>
                <c:pt idx="2">
                  <c:v>27.5509198302644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EFILL NORMAL 4CT</c:v>
                </c:pt>
              </c:strCache>
            </c:strRef>
          </c:cat>
          <c:val>
            <c:numRef>
              <c:f>Sheet1!$B$2:$B$2</c:f>
              <c:numCache>
                <c:formatCode>General</c:formatCode>
                <c:ptCount val="1"/>
                <c:pt idx="0">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EFILL NORMAL 4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EFILL NORMAL 4CT</c:v>
                </c:pt>
              </c:strCache>
            </c:strRef>
          </c:cat>
          <c:val>
            <c:numRef>
              <c:f>Sheet1!$D$2:$D$2</c:f>
              <c:numCache>
                <c:formatCode>General</c:formatCode>
                <c:ptCount val="1"/>
                <c:pt idx="0">
                  <c:v>5990.28571428571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41712AC-D199-4D86-ACAC-61491A998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D438D23-F69A-4963-B24B-19C3C4C4F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6ABAF2B-A144-4A3B-B043-6CFC2E089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FDFE435-CE81-43D8-929E-A07D1C5C5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8ECF0E2-972E-4B8A-99BD-038BD9CBD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652C968-543A-4771-A4A2-992FA9598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C93338E-BFBA-4594-92C7-0442F1E6E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223</c:v>
                </c:pt>
                <c:pt idx="1">
                  <c:v>0.2606</c:v>
                </c:pt>
                <c:pt idx="2">
                  <c:v>-0.67210000000000003</c:v>
                </c:pt>
                <c:pt idx="3">
                  <c:v>0.32100000000000001</c:v>
                </c:pt>
                <c:pt idx="4">
                  <c:v>0.34960000000000002</c:v>
                </c:pt>
                <c:pt idx="5">
                  <c:v>0.39179999999999998</c:v>
                </c:pt>
                <c:pt idx="6">
                  <c:v>0.35170000000000001</c:v>
                </c:pt>
                <c:pt idx="7">
                  <c:v>0.36099999999999999</c:v>
                </c:pt>
                <c:pt idx="8">
                  <c:v>0.34610000000000002</c:v>
                </c:pt>
                <c:pt idx="9">
                  <c:v>0.2203</c:v>
                </c:pt>
                <c:pt idx="10">
                  <c:v>0.37019999999999997</c:v>
                </c:pt>
                <c:pt idx="11">
                  <c:v>0.36749999999999999</c:v>
                </c:pt>
                <c:pt idx="12">
                  <c:v>0.31940000000000002</c:v>
                </c:pt>
                <c:pt idx="13">
                  <c:v>0.28089999999999998</c:v>
                </c:pt>
                <c:pt idx="14">
                  <c:v>0.29509999999999997</c:v>
                </c:pt>
              </c:numCache>
            </c:numRef>
          </c:xVal>
          <c:yVal>
            <c:numRef>
              <c:f>Sheet1!$B$2:$B$16</c:f>
              <c:numCache>
                <c:formatCode>General</c:formatCode>
                <c:ptCount val="15"/>
                <c:pt idx="0">
                  <c:v>17181.197982345519</c:v>
                </c:pt>
                <c:pt idx="1">
                  <c:v>14944.044795783921</c:v>
                </c:pt>
                <c:pt idx="2">
                  <c:v>5644</c:v>
                </c:pt>
                <c:pt idx="3">
                  <c:v>68443.006369426745</c:v>
                </c:pt>
                <c:pt idx="4">
                  <c:v>6009.7767857142853</c:v>
                </c:pt>
                <c:pt idx="5">
                  <c:v>48994.894366197179</c:v>
                </c:pt>
                <c:pt idx="6">
                  <c:v>52579.062832800853</c:v>
                </c:pt>
                <c:pt idx="7">
                  <c:v>42879.101283880183</c:v>
                </c:pt>
                <c:pt idx="8">
                  <c:v>7261.4353312302837</c:v>
                </c:pt>
                <c:pt idx="9">
                  <c:v>75992.745535714275</c:v>
                </c:pt>
                <c:pt idx="10">
                  <c:v>42642.536842105263</c:v>
                </c:pt>
                <c:pt idx="11">
                  <c:v>21416.964285714279</c:v>
                </c:pt>
                <c:pt idx="12">
                  <c:v>6803.5545023696686</c:v>
                </c:pt>
                <c:pt idx="13">
                  <c:v>21986.73913043478</c:v>
                </c:pt>
                <c:pt idx="14">
                  <c:v>51342.777129521593</c:v>
                </c:pt>
              </c:numCache>
            </c:numRef>
          </c:yVal>
          <c:bubbleSize>
            <c:numRef>
              <c:f>Sheet1!$C$2:$C$16</c:f>
              <c:numCache>
                <c:formatCode>General</c:formatCode>
                <c:ptCount val="15"/>
                <c:pt idx="0">
                  <c:v>1058631.9765999999</c:v>
                </c:pt>
                <c:pt idx="1">
                  <c:v>838701.68579999998</c:v>
                </c:pt>
                <c:pt idx="2">
                  <c:v>8139.9551999999994</c:v>
                </c:pt>
                <c:pt idx="3">
                  <c:v>3648181.7445999999</c:v>
                </c:pt>
                <c:pt idx="4">
                  <c:v>350237.70730000013</c:v>
                </c:pt>
                <c:pt idx="5">
                  <c:v>2538781.9904</c:v>
                </c:pt>
                <c:pt idx="6">
                  <c:v>3200726.89</c:v>
                </c:pt>
                <c:pt idx="7">
                  <c:v>1920827.2086</c:v>
                </c:pt>
                <c:pt idx="8">
                  <c:v>301018.2378</c:v>
                </c:pt>
                <c:pt idx="9">
                  <c:v>2654418.0469</c:v>
                </c:pt>
                <c:pt idx="10">
                  <c:v>2551270.2801999999</c:v>
                </c:pt>
                <c:pt idx="11">
                  <c:v>75862.37519999998</c:v>
                </c:pt>
                <c:pt idx="12">
                  <c:v>390839.13900000002</c:v>
                </c:pt>
                <c:pt idx="13">
                  <c:v>72733.44779999998</c:v>
                </c:pt>
                <c:pt idx="14">
                  <c:v>3101731.2096000011</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SCHICK XTREME 3 SENSITIVE GREEN HOLIDAY GIFT PACK 3 BLADE DISPOSABLE SENSITIVE 8CT</c:v>
                  </c:pt>
                  <c:pt idx="2">
                    <c:v>HYDRO 5 SENSITIVE 5 BLADE REFILL SENSITIVE 4CT</c:v>
                  </c:pt>
                  <c:pt idx="3">
                    <c:v>HYDRO 5 SENSITIVE 5 BLADE REFILL SENSITIVE 6CT</c:v>
                  </c:pt>
                  <c:pt idx="4">
                    <c:v>SCHICK XTREME 3 SENSITIVE GREEN BLACK 3 BLADE DISPOSABLE SENSITIVE 4CT</c:v>
                  </c:pt>
                  <c:pt idx="5">
                    <c:v>HYDRO 5 SENSITIVE 5 BLADE RAZOR SENSITIVE 3CT</c:v>
                  </c:pt>
                  <c:pt idx="6">
                    <c:v>SCHICK XTREME 2 SENSITIVE 2 BLADE DISPOSABLE NORMAL 12CT</c:v>
                  </c:pt>
                  <c:pt idx="7">
                    <c:v>SCHICK XTREME 3 SENSITIVE BLACK GREEN 3 BLADE DISPOSABLE SENSITIVE 12CT</c:v>
                  </c:pt>
                  <c:pt idx="8">
                    <c:v>SCHICK XTREME 3 SENSITIVE GREEN BLACK 3 BLADE DISPOSABLE SENSITIVE 12CT</c:v>
                  </c:pt>
                  <c:pt idx="9">
                    <c:v>HYDRO 5 SENSITIVE 5 BLADE REFILL SENSITIVE 12CT</c:v>
                  </c:pt>
                  <c:pt idx="10">
                    <c:v>SCHICK XTREME 3 SENSITIVE BLACK 3 BLADE DISPOSABLE SENSITIVE 4CT</c:v>
                  </c:pt>
                  <c:pt idx="11">
                    <c:v>SCHICK HYDRO 3 SENSITIVE 3 BLADE RAZOR SENSITIVE 4CT</c:v>
                  </c:pt>
                  <c:pt idx="12">
                    <c:v>SCHICK XTREME 3 SENSITIVE GREEN BLACK 3 BLADE DISPOSABLE SENSITIVE 8CT</c:v>
                  </c:pt>
                  <c:pt idx="13">
                    <c:v>SCHICK HYDRO 3 SENSITIVE 3 BLADE REFILL SENSITIVE 5CT</c:v>
                  </c:pt>
                  <c:pt idx="14">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C5C2DF-0A05-4929-9A8E-387CB82CC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3C3BDE4-1042-4408-8324-F1F144678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F40060A-3A93-4D8B-BD9D-785E3B12D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1CA0F4D-C3BD-46A7-9E8C-63FA5BBAD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02D000-620B-435A-87B7-7146D5D77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C788EA7-84D5-4E77-9F62-C3C5EA712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59EE0BF-2458-4279-B806-50F89AA76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4729999999999998</c:v>
                </c:pt>
                <c:pt idx="1">
                  <c:v>0.3987</c:v>
                </c:pt>
                <c:pt idx="2">
                  <c:v>0.48370000000000002</c:v>
                </c:pt>
                <c:pt idx="3">
                  <c:v>0.4884</c:v>
                </c:pt>
                <c:pt idx="4">
                  <c:v>0.43</c:v>
                </c:pt>
                <c:pt idx="5">
                  <c:v>0.40289999999999998</c:v>
                </c:pt>
                <c:pt idx="6">
                  <c:v>0.5474</c:v>
                </c:pt>
                <c:pt idx="7">
                  <c:v>0.44769999999999999</c:v>
                </c:pt>
                <c:pt idx="8">
                  <c:v>0.29899999999999999</c:v>
                </c:pt>
                <c:pt idx="9">
                  <c:v>0.4032</c:v>
                </c:pt>
              </c:numCache>
            </c:numRef>
          </c:xVal>
          <c:yVal>
            <c:numRef>
              <c:f>Sheet1!$B$2:$B$11</c:f>
              <c:numCache>
                <c:formatCode>General</c:formatCode>
                <c:ptCount val="10"/>
                <c:pt idx="0">
                  <c:v>34693.635394456287</c:v>
                </c:pt>
                <c:pt idx="1">
                  <c:v>10233.43976777939</c:v>
                </c:pt>
                <c:pt idx="2">
                  <c:v>88856.375634517768</c:v>
                </c:pt>
                <c:pt idx="3">
                  <c:v>31615.11318242344</c:v>
                </c:pt>
                <c:pt idx="4">
                  <c:v>54222.520710059172</c:v>
                </c:pt>
                <c:pt idx="5">
                  <c:v>38536.181506849323</c:v>
                </c:pt>
                <c:pt idx="6">
                  <c:v>37190.417101147032</c:v>
                </c:pt>
                <c:pt idx="7">
                  <c:v>39700.241492864981</c:v>
                </c:pt>
                <c:pt idx="8">
                  <c:v>17923.486707566459</c:v>
                </c:pt>
                <c:pt idx="9">
                  <c:v>38983.218623481793</c:v>
                </c:pt>
              </c:numCache>
            </c:numRef>
          </c:yVal>
          <c:bubbleSize>
            <c:numRef>
              <c:f>Sheet1!$C$2:$C$11</c:f>
              <c:numCache>
                <c:formatCode>General</c:formatCode>
                <c:ptCount val="10"/>
                <c:pt idx="0">
                  <c:v>1798622.3696000001</c:v>
                </c:pt>
                <c:pt idx="1">
                  <c:v>423999.08850000001</c:v>
                </c:pt>
                <c:pt idx="2">
                  <c:v>4518773.5040000007</c:v>
                </c:pt>
                <c:pt idx="3">
                  <c:v>1214691.3791</c:v>
                </c:pt>
                <c:pt idx="4">
                  <c:v>2611438.9336000001</c:v>
                </c:pt>
                <c:pt idx="5">
                  <c:v>1343734.6551000001</c:v>
                </c:pt>
                <c:pt idx="6">
                  <c:v>1614221.3448999999</c:v>
                </c:pt>
                <c:pt idx="7">
                  <c:v>1997336.7135999999</c:v>
                </c:pt>
                <c:pt idx="8">
                  <c:v>1228819.4014000001</c:v>
                </c:pt>
                <c:pt idx="9">
                  <c:v>2298580.1269999999</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75E6CEE-05BE-4331-82B8-186E5FDAF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F729B89-DBF5-4101-B977-2705A0E8C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BA592BC4-84D0-4783-ACE9-B4E6501C7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FAFAC8B-7AF6-466D-A127-B4EFE70A9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64508B7-1B70-4967-A588-4171C33B1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3CF8588-1031-4BD2-BF11-5C8EBF9C4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B20DB0B-5C8D-4AF5-90A5-9287096F9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80000000000001</c:v>
                </c:pt>
                <c:pt idx="1">
                  <c:v>0.34560000000000002</c:v>
                </c:pt>
              </c:numCache>
            </c:numRef>
          </c:xVal>
          <c:yVal>
            <c:numRef>
              <c:f>Sheet1!$B$2:$B$3</c:f>
              <c:numCache>
                <c:formatCode>General</c:formatCode>
                <c:ptCount val="2"/>
                <c:pt idx="0">
                  <c:v>7625.1282051282042</c:v>
                </c:pt>
                <c:pt idx="1">
                  <c:v>6750.3125</c:v>
                </c:pt>
              </c:numCache>
            </c:numRef>
          </c:yVal>
          <c:bubbleSize>
            <c:numRef>
              <c:f>Sheet1!$C$2:$C$3</c:f>
              <c:numCache>
                <c:formatCode>General</c:formatCode>
                <c:ptCount val="2"/>
                <c:pt idx="0">
                  <c:v>56493.237800000003</c:v>
                </c:pt>
                <c:pt idx="1">
                  <c:v>28272.369699999999</c:v>
                </c:pt>
              </c:numCache>
            </c:numRef>
          </c:bubbleSize>
          <c:bubble3D val="0"/>
          <c:extLst>
            <c:ext xmlns:c15="http://schemas.microsoft.com/office/drawing/2012/chart" uri="{02D57815-91ED-43cb-92C2-25804820EDAC}">
              <c15:datalabelsRange>
                <c15:f>Sheet1!$E$2:$E$50</c15:f>
                <c15:dlblRangeCache>
                  <c:ptCount val="49"/>
                  <c:pt idx="0">
                    <c:v>CREMO 5 BLADE RAZOR NORMAL 2CT</c:v>
                  </c:pt>
                  <c:pt idx="1">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73E89F1-38A5-423A-8B66-833293D6E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7DAEBFE-37A0-4959-9C1C-2325D22BA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9D709CD-A20F-419C-90B1-E7A86D112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176CC20-11AD-4DD2-B31D-C4EFC4BBB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53CE9E6-4C15-4434-B903-AF9F05F07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267859C-FB21-4DF8-BB82-5C2ABBF0C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BDA2553-BE77-49E0-B4F8-57B603032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5</c:f>
              <c:numCache>
                <c:formatCode>General</c:formatCode>
                <c:ptCount val="14"/>
                <c:pt idx="0">
                  <c:v>0.29170000000000001</c:v>
                </c:pt>
                <c:pt idx="1">
                  <c:v>0.30980000000000002</c:v>
                </c:pt>
                <c:pt idx="2">
                  <c:v>0.32069999999999999</c:v>
                </c:pt>
                <c:pt idx="3">
                  <c:v>0.35680000000000001</c:v>
                </c:pt>
                <c:pt idx="4">
                  <c:v>0.39179999999999998</c:v>
                </c:pt>
                <c:pt idx="5">
                  <c:v>0.3579</c:v>
                </c:pt>
                <c:pt idx="6">
                  <c:v>0.36799999999999999</c:v>
                </c:pt>
                <c:pt idx="7">
                  <c:v>0.35389999999999999</c:v>
                </c:pt>
                <c:pt idx="8">
                  <c:v>0.21940000000000001</c:v>
                </c:pt>
                <c:pt idx="9">
                  <c:v>0.37519999999999998</c:v>
                </c:pt>
                <c:pt idx="10">
                  <c:v>0.35849999999999999</c:v>
                </c:pt>
                <c:pt idx="11">
                  <c:v>0.32700000000000001</c:v>
                </c:pt>
                <c:pt idx="12">
                  <c:v>0.20269999999999999</c:v>
                </c:pt>
                <c:pt idx="13">
                  <c:v>0.30099999999999999</c:v>
                </c:pt>
              </c:numCache>
            </c:numRef>
          </c:xVal>
          <c:yVal>
            <c:numRef>
              <c:f>Sheet1!$B$2:$B$15</c:f>
              <c:numCache>
                <c:formatCode>General</c:formatCode>
                <c:ptCount val="14"/>
                <c:pt idx="0">
                  <c:v>1094.75</c:v>
                </c:pt>
                <c:pt idx="1">
                  <c:v>874</c:v>
                </c:pt>
                <c:pt idx="2">
                  <c:v>4560.0253164556962</c:v>
                </c:pt>
                <c:pt idx="3">
                  <c:v>413.27272727272731</c:v>
                </c:pt>
                <c:pt idx="4">
                  <c:v>3435.0481927710839</c:v>
                </c:pt>
                <c:pt idx="5">
                  <c:v>4372</c:v>
                </c:pt>
                <c:pt idx="6">
                  <c:v>3373.205882352941</c:v>
                </c:pt>
                <c:pt idx="7">
                  <c:v>574.65625</c:v>
                </c:pt>
                <c:pt idx="8">
                  <c:v>5275.4193548387093</c:v>
                </c:pt>
                <c:pt idx="9">
                  <c:v>3032.8736842105259</c:v>
                </c:pt>
                <c:pt idx="10">
                  <c:v>999.2</c:v>
                </c:pt>
                <c:pt idx="11">
                  <c:v>506.07142857142861</c:v>
                </c:pt>
                <c:pt idx="12">
                  <c:v>1055.75</c:v>
                </c:pt>
                <c:pt idx="13">
                  <c:v>3945.977011494253</c:v>
                </c:pt>
              </c:numCache>
            </c:numRef>
          </c:yVal>
          <c:bubbleSize>
            <c:numRef>
              <c:f>Sheet1!$C$2:$C$15</c:f>
              <c:numCache>
                <c:formatCode>General</c:formatCode>
                <c:ptCount val="14"/>
                <c:pt idx="0">
                  <c:v>3101.6833000000001</c:v>
                </c:pt>
                <c:pt idx="1">
                  <c:v>2412.9196000000002</c:v>
                </c:pt>
                <c:pt idx="2">
                  <c:v>244698.5876</c:v>
                </c:pt>
                <c:pt idx="3">
                  <c:v>23392.570500000002</c:v>
                </c:pt>
                <c:pt idx="4">
                  <c:v>173389.4657</c:v>
                </c:pt>
                <c:pt idx="5">
                  <c:v>263862.60159999999</c:v>
                </c:pt>
                <c:pt idx="6">
                  <c:v>144963.85519999999</c:v>
                </c:pt>
                <c:pt idx="7">
                  <c:v>23760.718799999999</c:v>
                </c:pt>
                <c:pt idx="8">
                  <c:v>127660.91680000001</c:v>
                </c:pt>
                <c:pt idx="9">
                  <c:v>180016.2997</c:v>
                </c:pt>
                <c:pt idx="10">
                  <c:v>3205.0187999999998</c:v>
                </c:pt>
                <c:pt idx="11">
                  <c:v>28611.328399999999</c:v>
                </c:pt>
                <c:pt idx="12">
                  <c:v>3367.1781000000001</c:v>
                </c:pt>
                <c:pt idx="13">
                  <c:v>239980.5024</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SCHICK XTREME 3 SENSITIVE GREEN HOLIDAY GIFT PACK 3 BLADE DISPOSABLE SENSITIVE 8CT</c:v>
                  </c:pt>
                  <c:pt idx="2">
                    <c:v>HYDRO 5 SENSITIVE 5 BLADE REFILL SENSITIVE 6CT</c:v>
                  </c:pt>
                  <c:pt idx="3">
                    <c:v>SCHICK XTREME 3 SENSITIVE GREEN BLACK 3 BLADE DISPOSABLE SENSITIVE 4CT</c:v>
                  </c:pt>
                  <c:pt idx="4">
                    <c:v>HYDRO 5 SENSITIVE 5 BLADE RAZOR SENSITIVE 3CT</c:v>
                  </c:pt>
                  <c:pt idx="5">
                    <c:v>SCHICK XTREME 2 SENSITIVE 2 BLADE DISPOSABLE NORMAL 12CT</c:v>
                  </c:pt>
                  <c:pt idx="6">
                    <c:v>SCHICK XTREME 3 SENSITIVE BLACK GREEN 3 BLADE DISPOSABLE SENSITIVE 12CT</c:v>
                  </c:pt>
                  <c:pt idx="7">
                    <c:v>SCHICK XTREME 3 SENSITIVE GREEN BLACK 3 BLADE DISPOSABLE SENSITIVE 12CT</c:v>
                  </c:pt>
                  <c:pt idx="8">
                    <c:v>HYDRO 5 SENSITIVE 5 BLADE REFILL SENSITIVE 12CT</c:v>
                  </c:pt>
                  <c:pt idx="9">
                    <c:v>SCHICK XTREME 3 SENSITIVE BLACK 3 BLADE DISPOSABLE SENSITIVE 4CT</c:v>
                  </c:pt>
                  <c:pt idx="10">
                    <c:v>SCHICK HYDRO 3 SENSITIVE 3 BLADE RAZOR SENSITIVE 4CT</c:v>
                  </c:pt>
                  <c:pt idx="11">
                    <c:v>SCHICK XTREME 3 SENSITIVE GREEN BLACK 3 BLADE DISPOSABLE SENSITIVE 8CT</c:v>
                  </c:pt>
                  <c:pt idx="12">
                    <c:v>SCHICK HYDRO 3 SENSITIVE 3 BLADE REFILL SENSITIVE 5CT</c:v>
                  </c:pt>
                  <c:pt idx="13">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E76F522-2968-4A6D-AC59-4AAE8A618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FD861F6-9923-42A7-BE13-8E34395B6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D64260D-E795-4C1E-A372-995A1A85D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907FC9B-AF0A-466D-8F09-9629B77E3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A6A86A2-D37D-4ECF-A68D-EA6524892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59CFB71-82CF-4434-ABBE-8739C8F15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0C55DDE-B87A-4015-A5F1-09F39CF0F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5319999999999999</c:v>
                </c:pt>
                <c:pt idx="1">
                  <c:v>0.39739999999999998</c:v>
                </c:pt>
                <c:pt idx="2">
                  <c:v>0.48870000000000002</c:v>
                </c:pt>
                <c:pt idx="3">
                  <c:v>0.48749999999999999</c:v>
                </c:pt>
                <c:pt idx="4">
                  <c:v>0.42920000000000003</c:v>
                </c:pt>
                <c:pt idx="5">
                  <c:v>0.39600000000000002</c:v>
                </c:pt>
                <c:pt idx="6">
                  <c:v>0.55089999999999995</c:v>
                </c:pt>
                <c:pt idx="7">
                  <c:v>0.44790000000000002</c:v>
                </c:pt>
                <c:pt idx="8">
                  <c:v>0.30880000000000002</c:v>
                </c:pt>
                <c:pt idx="9">
                  <c:v>0.40329999999999999</c:v>
                </c:pt>
              </c:numCache>
            </c:numRef>
          </c:xVal>
          <c:yVal>
            <c:numRef>
              <c:f>Sheet1!$B$2:$B$11</c:f>
              <c:numCache>
                <c:formatCode>General</c:formatCode>
                <c:ptCount val="10"/>
                <c:pt idx="0">
                  <c:v>2490.9578947368418</c:v>
                </c:pt>
                <c:pt idx="1">
                  <c:v>745.05970149253733</c:v>
                </c:pt>
                <c:pt idx="2">
                  <c:v>6191.2653061224491</c:v>
                </c:pt>
                <c:pt idx="3">
                  <c:v>2192.542857142857</c:v>
                </c:pt>
                <c:pt idx="4">
                  <c:v>3421.4096385542171</c:v>
                </c:pt>
                <c:pt idx="5">
                  <c:v>2624.6851851851852</c:v>
                </c:pt>
                <c:pt idx="6">
                  <c:v>2380.0744680851062</c:v>
                </c:pt>
                <c:pt idx="7">
                  <c:v>2854.1777777777779</c:v>
                </c:pt>
                <c:pt idx="8">
                  <c:v>1268.855670103093</c:v>
                </c:pt>
                <c:pt idx="9">
                  <c:v>3147.9191919191921</c:v>
                </c:pt>
              </c:numCache>
            </c:numRef>
          </c:yVal>
          <c:bubbleSize>
            <c:numRef>
              <c:f>Sheet1!$C$2:$C$11</c:f>
              <c:numCache>
                <c:formatCode>General</c:formatCode>
                <c:ptCount val="10"/>
                <c:pt idx="0">
                  <c:v>129385.6139</c:v>
                </c:pt>
                <c:pt idx="1">
                  <c:v>30082.322400000001</c:v>
                </c:pt>
                <c:pt idx="2">
                  <c:v>310226.51689999999</c:v>
                </c:pt>
                <c:pt idx="3">
                  <c:v>78650.092899999989</c:v>
                </c:pt>
                <c:pt idx="4">
                  <c:v>162101.8536</c:v>
                </c:pt>
                <c:pt idx="5">
                  <c:v>85603.147899999982</c:v>
                </c:pt>
                <c:pt idx="6">
                  <c:v>100468.05989999999</c:v>
                </c:pt>
                <c:pt idx="7">
                  <c:v>141820.57579999999</c:v>
                </c:pt>
                <c:pt idx="8">
                  <c:v>85078.340200000021</c:v>
                </c:pt>
                <c:pt idx="9">
                  <c:v>185958.43340000001</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6E95FA4-6E39-471A-8C8B-8D311E965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697F275F-A456-4D64-AE19-578360030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47675891-AE73-4C65-876B-9567CDD9C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C27E9A7-85D5-46CC-9A28-A6AEB81D8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F161D61-A8A1-43F7-9AEE-0BCF06DB0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85232CC-BD98-4ABD-AF28-720EF07A7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F463BA9-0C1E-4077-A1BC-65580D3B7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09999999999999</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CE1051E-2C80-45AC-AABC-B3AA2752E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A340665-31A2-4477-A207-9402DDCBA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D39E14E-DF58-46AE-9BA4-378B731F3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642683E-C29D-46DA-A7EB-CA2812774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789B53D-5E2C-4CC4-A65C-FD284E1DE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66957C2-9786-4B48-8512-7F4DC8FB1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B91996C-77CD-4243-89CD-A397D12AA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91049999999999998</c:v>
                </c:pt>
                <c:pt idx="1">
                  <c:v>0.32050000000000001</c:v>
                </c:pt>
                <c:pt idx="2">
                  <c:v>0.35060000000000002</c:v>
                </c:pt>
                <c:pt idx="3">
                  <c:v>0.39190000000000003</c:v>
                </c:pt>
                <c:pt idx="4">
                  <c:v>0.35320000000000001</c:v>
                </c:pt>
                <c:pt idx="5">
                  <c:v>0.35849999999999999</c:v>
                </c:pt>
                <c:pt idx="6">
                  <c:v>0.3458</c:v>
                </c:pt>
                <c:pt idx="7">
                  <c:v>0.3705</c:v>
                </c:pt>
                <c:pt idx="8">
                  <c:v>0.32150000000000001</c:v>
                </c:pt>
                <c:pt idx="9">
                  <c:v>0.29580000000000001</c:v>
                </c:pt>
              </c:numCache>
            </c:numRef>
          </c:xVal>
          <c:yVal>
            <c:numRef>
              <c:f>Sheet1!$B$2:$B$11</c:f>
              <c:numCache>
                <c:formatCode>General</c:formatCode>
                <c:ptCount val="10"/>
                <c:pt idx="0">
                  <c:v>839</c:v>
                </c:pt>
                <c:pt idx="1">
                  <c:v>7307.5535714285706</c:v>
                </c:pt>
                <c:pt idx="2">
                  <c:v>536.43661971830988</c:v>
                </c:pt>
                <c:pt idx="3">
                  <c:v>4743.377049180328</c:v>
                </c:pt>
                <c:pt idx="4">
                  <c:v>4400.727272727273</c:v>
                </c:pt>
                <c:pt idx="5">
                  <c:v>4859.9333333333334</c:v>
                </c:pt>
                <c:pt idx="6">
                  <c:v>743.54166666666663</c:v>
                </c:pt>
                <c:pt idx="7">
                  <c:v>3557.6049382716051</c:v>
                </c:pt>
                <c:pt idx="8">
                  <c:v>609.59016393442619</c:v>
                </c:pt>
                <c:pt idx="9">
                  <c:v>5031.3076923076924</c:v>
                </c:pt>
              </c:numCache>
            </c:numRef>
          </c:yVal>
          <c:bubbleSize>
            <c:numRef>
              <c:f>Sheet1!$C$2:$C$11</c:f>
              <c:numCache>
                <c:formatCode>General</c:formatCode>
                <c:ptCount val="10"/>
                <c:pt idx="0">
                  <c:v>1341.184</c:v>
                </c:pt>
                <c:pt idx="1">
                  <c:v>278077.10879999999</c:v>
                </c:pt>
                <c:pt idx="2">
                  <c:v>24732.3076</c:v>
                </c:pt>
                <c:pt idx="3">
                  <c:v>175947.76449999999</c:v>
                </c:pt>
                <c:pt idx="4">
                  <c:v>219178.04300000001</c:v>
                </c:pt>
                <c:pt idx="5">
                  <c:v>93532.547699999996</c:v>
                </c:pt>
                <c:pt idx="6">
                  <c:v>11674.0008</c:v>
                </c:pt>
                <c:pt idx="7">
                  <c:v>181395.77009999999</c:v>
                </c:pt>
                <c:pt idx="8">
                  <c:v>25231.624599999999</c:v>
                </c:pt>
                <c:pt idx="9">
                  <c:v>230309.52960000001</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4CT</c:v>
                  </c:pt>
                  <c:pt idx="1">
                    <c:v>HYDRO 5 SENSITIVE 5 BLADE REFILL SENSITIVE 6CT</c:v>
                  </c:pt>
                  <c:pt idx="2">
                    <c:v>SCHICK XTREME 3 SENSITIVE GREEN BLACK 3 BLADE DISPOSABLE SENSITIVE 4CT</c:v>
                  </c:pt>
                  <c:pt idx="3">
                    <c:v>HYDRO 5 SENSITIVE 5 BLADE RAZOR SENSITIVE 3CT</c:v>
                  </c:pt>
                  <c:pt idx="4">
                    <c:v>SCHICK XTREME 2 SENSITIVE 2 BLADE DISPOSABLE NORMAL 12CT</c:v>
                  </c:pt>
                  <c:pt idx="5">
                    <c:v>SCHICK XTREME 3 SENSITIVE BLACK GREEN 3 BLADE DISPOSABLE SENSITIVE 12CT</c:v>
                  </c:pt>
                  <c:pt idx="6">
                    <c:v>SCHICK XTREME 3 SENSITIVE GREEN BLACK 3 BLADE DISPOSABLE SENSITIVE 12CT</c:v>
                  </c:pt>
                  <c:pt idx="7">
                    <c:v>SCHICK XTREME 3 SENSITIVE BLACK 3 BLADE DISPOSABLE SENSITIVE 4CT</c:v>
                  </c:pt>
                  <c:pt idx="8">
                    <c:v>SCHICK XTREME 3 SENSITIVE GREEN BLACK 3 BLADE DISPOSABLE SENSITIVE 8CT</c:v>
                  </c:pt>
                  <c:pt idx="9">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4792B70-F45A-4A2D-9887-1CC69D492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E9AC0B2-F7C0-4308-90D3-5B90A772B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61CA28A-5310-42A3-B420-2CF367395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5FB1660-CB98-4A89-85F3-2C83EE6F7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9CC4DDB-7E6F-4917-80D4-D134ED8A3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4FAA3BA-DC6E-4CDC-A60A-AC71B4A3F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985B506-E132-4FC5-8858-0B21FEB3D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4800000000000001</c:v>
                </c:pt>
                <c:pt idx="1">
                  <c:v>0.39889999999999998</c:v>
                </c:pt>
                <c:pt idx="2">
                  <c:v>0.4844</c:v>
                </c:pt>
                <c:pt idx="3">
                  <c:v>0.48880000000000001</c:v>
                </c:pt>
                <c:pt idx="4">
                  <c:v>0.43030000000000002</c:v>
                </c:pt>
                <c:pt idx="5">
                  <c:v>0.35830000000000001</c:v>
                </c:pt>
                <c:pt idx="6">
                  <c:v>0.54790000000000005</c:v>
                </c:pt>
                <c:pt idx="7">
                  <c:v>0.44729999999999998</c:v>
                </c:pt>
                <c:pt idx="8">
                  <c:v>0.30309999999999998</c:v>
                </c:pt>
                <c:pt idx="9">
                  <c:v>0.4032</c:v>
                </c:pt>
              </c:numCache>
            </c:numRef>
          </c:xVal>
          <c:yVal>
            <c:numRef>
              <c:f>Sheet1!$B$2:$B$11</c:f>
              <c:numCache>
                <c:formatCode>General</c:formatCode>
                <c:ptCount val="10"/>
                <c:pt idx="0">
                  <c:v>2923.9189189189192</c:v>
                </c:pt>
                <c:pt idx="1">
                  <c:v>1148.3170731707321</c:v>
                </c:pt>
                <c:pt idx="2">
                  <c:v>5807.0109890109889</c:v>
                </c:pt>
                <c:pt idx="3">
                  <c:v>3302.6981132075471</c:v>
                </c:pt>
                <c:pt idx="4">
                  <c:v>4936.0153846153844</c:v>
                </c:pt>
                <c:pt idx="5">
                  <c:v>3361.8</c:v>
                </c:pt>
                <c:pt idx="6">
                  <c:v>2862.6341463414628</c:v>
                </c:pt>
                <c:pt idx="7">
                  <c:v>3479.353846153846</c:v>
                </c:pt>
                <c:pt idx="8">
                  <c:v>1727.1789473684209</c:v>
                </c:pt>
                <c:pt idx="9">
                  <c:v>3081.3052631578948</c:v>
                </c:pt>
              </c:numCache>
            </c:numRef>
          </c:yVal>
          <c:bubbleSize>
            <c:numRef>
              <c:f>Sheet1!$C$2:$C$11</c:f>
              <c:numCache>
                <c:formatCode>General</c:formatCode>
                <c:ptCount val="10"/>
                <c:pt idx="0">
                  <c:v>119428.2879</c:v>
                </c:pt>
                <c:pt idx="1">
                  <c:v>28301.748800000001</c:v>
                </c:pt>
                <c:pt idx="2">
                  <c:v>272475.62770000001</c:v>
                </c:pt>
                <c:pt idx="3">
                  <c:v>89489.170400000003</c:v>
                </c:pt>
                <c:pt idx="4">
                  <c:v>182797.47649999999</c:v>
                </c:pt>
                <c:pt idx="5">
                  <c:v>86297.400300000008</c:v>
                </c:pt>
                <c:pt idx="6">
                  <c:v>106130.8149</c:v>
                </c:pt>
                <c:pt idx="7">
                  <c:v>125001.96189999999</c:v>
                </c:pt>
                <c:pt idx="8">
                  <c:v>114348.9244</c:v>
                </c:pt>
                <c:pt idx="9">
                  <c:v>174687.43780000001</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3B9FF14-5B59-4E63-B542-97589CB97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58C1B7C-8BB3-4588-93EE-0B47B7D3D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5574518-D4D5-46F6-B219-9638CA01F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1B4EAD5-9561-4EC8-9962-49DD1C40C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91DB6E0-4365-412B-B657-7C988ECFE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21FB86B-3CE7-44D6-A990-F76C1576F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78F025A-3D12-4DD8-904E-B34728782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2228</c:v>
                </c:pt>
                <c:pt idx="1">
                  <c:v>0.26040000000000002</c:v>
                </c:pt>
                <c:pt idx="2">
                  <c:v>-0.64170000000000005</c:v>
                </c:pt>
                <c:pt idx="3">
                  <c:v>0.3211</c:v>
                </c:pt>
                <c:pt idx="4">
                  <c:v>0.34889999999999999</c:v>
                </c:pt>
                <c:pt idx="5">
                  <c:v>0.39179999999999998</c:v>
                </c:pt>
                <c:pt idx="6">
                  <c:v>0.35099999999999998</c:v>
                </c:pt>
                <c:pt idx="7">
                  <c:v>0.36049999999999999</c:v>
                </c:pt>
                <c:pt idx="8">
                  <c:v>0.34549999999999997</c:v>
                </c:pt>
                <c:pt idx="9">
                  <c:v>0.2205</c:v>
                </c:pt>
                <c:pt idx="10">
                  <c:v>0.36980000000000002</c:v>
                </c:pt>
                <c:pt idx="11">
                  <c:v>0.3679</c:v>
                </c:pt>
                <c:pt idx="12">
                  <c:v>0.31850000000000001</c:v>
                </c:pt>
                <c:pt idx="13">
                  <c:v>0.2843</c:v>
                </c:pt>
                <c:pt idx="14">
                  <c:v>0.29449999999999998</c:v>
                </c:pt>
              </c:numCache>
            </c:numRef>
          </c:xVal>
          <c:yVal>
            <c:numRef>
              <c:f>Sheet1!$B$2:$B$16</c:f>
              <c:numCache>
                <c:formatCode>General</c:formatCode>
                <c:ptCount val="15"/>
                <c:pt idx="0">
                  <c:v>14923.912087912089</c:v>
                </c:pt>
                <c:pt idx="1">
                  <c:v>12997.022988505751</c:v>
                </c:pt>
                <c:pt idx="2">
                  <c:v>4359</c:v>
                </c:pt>
                <c:pt idx="3">
                  <c:v>57541.387499999997</c:v>
                </c:pt>
                <c:pt idx="4">
                  <c:v>5099.131868131868</c:v>
                </c:pt>
                <c:pt idx="5">
                  <c:v>41378.275862068956</c:v>
                </c:pt>
                <c:pt idx="6">
                  <c:v>44077.368421052633</c:v>
                </c:pt>
                <c:pt idx="7">
                  <c:v>36036.28767123288</c:v>
                </c:pt>
                <c:pt idx="8">
                  <c:v>6147.757575757576</c:v>
                </c:pt>
                <c:pt idx="9">
                  <c:v>66122.918367346938</c:v>
                </c:pt>
                <c:pt idx="10">
                  <c:v>36195.333333333343</c:v>
                </c:pt>
                <c:pt idx="11">
                  <c:v>19149.166666666672</c:v>
                </c:pt>
                <c:pt idx="12">
                  <c:v>5750.2906976744189</c:v>
                </c:pt>
                <c:pt idx="13">
                  <c:v>19381.2</c:v>
                </c:pt>
                <c:pt idx="14">
                  <c:v>42870.586206896551</c:v>
                </c:pt>
              </c:numCache>
            </c:numRef>
          </c:yVal>
          <c:bubbleSize>
            <c:numRef>
              <c:f>Sheet1!$C$2:$C$16</c:f>
              <c:numCache>
                <c:formatCode>General</c:formatCode>
                <c:ptCount val="15"/>
                <c:pt idx="0">
                  <c:v>1055523.5941999999</c:v>
                </c:pt>
                <c:pt idx="1">
                  <c:v>836275.50840000005</c:v>
                </c:pt>
                <c:pt idx="2">
                  <c:v>6169.4463999999998</c:v>
                </c:pt>
                <c:pt idx="3">
                  <c:v>3125406.0482000001</c:v>
                </c:pt>
                <c:pt idx="4">
                  <c:v>302112.82919999998</c:v>
                </c:pt>
                <c:pt idx="5">
                  <c:v>2189444.7601999999</c:v>
                </c:pt>
                <c:pt idx="6">
                  <c:v>2717686.2453999999</c:v>
                </c:pt>
                <c:pt idx="7">
                  <c:v>1682330.8056999999</c:v>
                </c:pt>
                <c:pt idx="8">
                  <c:v>265583.51819999999</c:v>
                </c:pt>
                <c:pt idx="9">
                  <c:v>2525616.0184999998</c:v>
                </c:pt>
                <c:pt idx="10">
                  <c:v>2189858.2104000002</c:v>
                </c:pt>
                <c:pt idx="11">
                  <c:v>72621.147599999997</c:v>
                </c:pt>
                <c:pt idx="12">
                  <c:v>336996.18599999999</c:v>
                </c:pt>
                <c:pt idx="13">
                  <c:v>69360.267600000006</c:v>
                </c:pt>
                <c:pt idx="14">
                  <c:v>2631441.1776000001</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SCHICK XTREME 3 SENSITIVE GREEN HOLIDAY GIFT PACK 3 BLADE DISPOSABLE SENSITIVE 8CT</c:v>
                  </c:pt>
                  <c:pt idx="2">
                    <c:v>HYDRO 5 SENSITIVE 5 BLADE REFILL SENSITIVE 4CT</c:v>
                  </c:pt>
                  <c:pt idx="3">
                    <c:v>HYDRO 5 SENSITIVE 5 BLADE REFILL SENSITIVE 6CT</c:v>
                  </c:pt>
                  <c:pt idx="4">
                    <c:v>SCHICK XTREME 3 SENSITIVE GREEN BLACK 3 BLADE DISPOSABLE SENSITIVE 4CT</c:v>
                  </c:pt>
                  <c:pt idx="5">
                    <c:v>HYDRO 5 SENSITIVE 5 BLADE RAZOR SENSITIVE 3CT</c:v>
                  </c:pt>
                  <c:pt idx="6">
                    <c:v>SCHICK XTREME 2 SENSITIVE 2 BLADE DISPOSABLE NORMAL 12CT</c:v>
                  </c:pt>
                  <c:pt idx="7">
                    <c:v>SCHICK XTREME 3 SENSITIVE BLACK GREEN 3 BLADE DISPOSABLE SENSITIVE 12CT</c:v>
                  </c:pt>
                  <c:pt idx="8">
                    <c:v>SCHICK XTREME 3 SENSITIVE GREEN BLACK 3 BLADE DISPOSABLE SENSITIVE 12CT</c:v>
                  </c:pt>
                  <c:pt idx="9">
                    <c:v>HYDRO 5 SENSITIVE 5 BLADE REFILL SENSITIVE 12CT</c:v>
                  </c:pt>
                  <c:pt idx="10">
                    <c:v>SCHICK XTREME 3 SENSITIVE BLACK 3 BLADE DISPOSABLE SENSITIVE 4CT</c:v>
                  </c:pt>
                  <c:pt idx="11">
                    <c:v>SCHICK HYDRO 3 SENSITIVE 3 BLADE RAZOR SENSITIVE 4CT</c:v>
                  </c:pt>
                  <c:pt idx="12">
                    <c:v>SCHICK XTREME 3 SENSITIVE GREEN BLACK 3 BLADE DISPOSABLE SENSITIVE 8CT</c:v>
                  </c:pt>
                  <c:pt idx="13">
                    <c:v>SCHICK HYDRO 3 SENSITIVE 3 BLADE REFILL SENSITIVE 5CT</c:v>
                  </c:pt>
                  <c:pt idx="14">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Cremo</c:v>
                </c:pt>
              </c:strCache>
            </c:strRef>
          </c:cat>
          <c:val>
            <c:numRef>
              <c:f>Sheet1!$B$2:$B$3</c:f>
              <c:numCache>
                <c:formatCode>General</c:formatCode>
                <c:ptCount val="2"/>
                <c:pt idx="0">
                  <c:v>0.9999743809551962</c:v>
                </c:pt>
                <c:pt idx="1">
                  <c:v>2.561904480376797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Cremo</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Cremo</c:v>
                </c:pt>
              </c:strCache>
            </c:strRef>
          </c:cat>
          <c:val>
            <c:numRef>
              <c:f>Sheet1!$D$2:$D$3</c:f>
              <c:numCache>
                <c:formatCode>General</c:formatCode>
                <c:ptCount val="2"/>
                <c:pt idx="0">
                  <c:v>1.0000256197011561</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A54CA12-0647-42F1-B22B-AFBBB8476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610435C-5CA6-4372-8B89-DFA5D7199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2131D46-C37D-4D43-A451-9E3A67B89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6BCADA5-9CF6-41B8-9E4A-E486D318F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AC0DF28-92B4-412D-8D34-127F8D9D1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970130A-8AA5-4BED-9E26-FBADE1C2A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B701067-6203-4613-84E7-84D4BABAF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4669999999999999</c:v>
                </c:pt>
                <c:pt idx="1">
                  <c:v>0.3987</c:v>
                </c:pt>
                <c:pt idx="2">
                  <c:v>0.48330000000000001</c:v>
                </c:pt>
                <c:pt idx="3">
                  <c:v>0.4884</c:v>
                </c:pt>
                <c:pt idx="4">
                  <c:v>0.43009999999999998</c:v>
                </c:pt>
                <c:pt idx="5">
                  <c:v>0.40649999999999997</c:v>
                </c:pt>
                <c:pt idx="6">
                  <c:v>0.54710000000000003</c:v>
                </c:pt>
                <c:pt idx="7">
                  <c:v>0.44779999999999998</c:v>
                </c:pt>
                <c:pt idx="8">
                  <c:v>0.29770000000000002</c:v>
                </c:pt>
                <c:pt idx="9">
                  <c:v>0.4032</c:v>
                </c:pt>
              </c:numCache>
            </c:numRef>
          </c:xVal>
          <c:yVal>
            <c:numRef>
              <c:f>Sheet1!$B$2:$B$11</c:f>
              <c:numCache>
                <c:formatCode>General</c:formatCode>
                <c:ptCount val="10"/>
                <c:pt idx="0">
                  <c:v>29486.863157894739</c:v>
                </c:pt>
                <c:pt idx="1">
                  <c:v>8564.5633802816901</c:v>
                </c:pt>
                <c:pt idx="2">
                  <c:v>76941.121212121216</c:v>
                </c:pt>
                <c:pt idx="3">
                  <c:v>26568.493506493509</c:v>
                </c:pt>
                <c:pt idx="4">
                  <c:v>46244.011627906977</c:v>
                </c:pt>
                <c:pt idx="5">
                  <c:v>32905.133333333331</c:v>
                </c:pt>
                <c:pt idx="6">
                  <c:v>32042.247422680412</c:v>
                </c:pt>
                <c:pt idx="7">
                  <c:v>33695.247311827959</c:v>
                </c:pt>
                <c:pt idx="8">
                  <c:v>14956.693877551021</c:v>
                </c:pt>
                <c:pt idx="9">
                  <c:v>32799.737373737371</c:v>
                </c:pt>
              </c:numCache>
            </c:numRef>
          </c:yVal>
          <c:bubbleSize>
            <c:numRef>
              <c:f>Sheet1!$C$2:$C$11</c:f>
              <c:numCache>
                <c:formatCode>General</c:formatCode>
                <c:ptCount val="10"/>
                <c:pt idx="0">
                  <c:v>1549808.4678</c:v>
                </c:pt>
                <c:pt idx="1">
                  <c:v>365615.01729999989</c:v>
                </c:pt>
                <c:pt idx="2">
                  <c:v>3936071.3594</c:v>
                </c:pt>
                <c:pt idx="3">
                  <c:v>1046552.1158</c:v>
                </c:pt>
                <c:pt idx="4">
                  <c:v>2266539.6035000002</c:v>
                </c:pt>
                <c:pt idx="5">
                  <c:v>1171834.1069</c:v>
                </c:pt>
                <c:pt idx="6">
                  <c:v>1407622.4701</c:v>
                </c:pt>
                <c:pt idx="7">
                  <c:v>1730514.1758999999</c:v>
                </c:pt>
                <c:pt idx="8">
                  <c:v>1029392.1368</c:v>
                </c:pt>
                <c:pt idx="9">
                  <c:v>1937934.2557999999</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81F44C4-ED72-4380-9F79-A94E6A149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56DEFF8-F875-4EE0-B70F-242491383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796144DE-5698-4E17-9393-F7C37FF0A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83382F8-E551-4A76-AB54-E04BC6299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ECB7E8A-C16D-4350-AA91-0D288F166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F20BDA7-06C5-4C41-A670-87192BCD5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BF1E33D-A413-4652-A31E-C536E8328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59999999999998</c:v>
                </c:pt>
                <c:pt idx="1">
                  <c:v>0.34639999999999999</c:v>
                </c:pt>
              </c:numCache>
            </c:numRef>
          </c:xVal>
          <c:yVal>
            <c:numRef>
              <c:f>Sheet1!$B$2:$B$3</c:f>
              <c:numCache>
                <c:formatCode>General</c:formatCode>
                <c:ptCount val="2"/>
                <c:pt idx="0">
                  <c:v>6680.8461538461543</c:v>
                </c:pt>
                <c:pt idx="1">
                  <c:v>5990.2857142857138</c:v>
                </c:pt>
              </c:numCache>
            </c:numRef>
          </c:yVal>
          <c:bubbleSize>
            <c:numRef>
              <c:f>Sheet1!$C$2:$C$3</c:f>
              <c:numCache>
                <c:formatCode>General</c:formatCode>
                <c:ptCount val="2"/>
                <c:pt idx="0">
                  <c:v>55007.155300000013</c:v>
                </c:pt>
                <c:pt idx="1">
                  <c:v>27404.931199999999</c:v>
                </c:pt>
              </c:numCache>
            </c:numRef>
          </c:bubbleSize>
          <c:bubble3D val="0"/>
          <c:extLst>
            <c:ext xmlns:c15="http://schemas.microsoft.com/office/drawing/2012/chart" uri="{02D57815-91ED-43cb-92C2-25804820EDAC}">
              <c15:datalabelsRange>
                <c15:f>Sheet1!$E$2:$E$50</c15:f>
                <c15:dlblRangeCache>
                  <c:ptCount val="49"/>
                  <c:pt idx="0">
                    <c:v>CREMO 5 BLADE RAZOR NORMAL 2CT</c:v>
                  </c:pt>
                  <c:pt idx="1">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581AFCD-7181-4E24-BDF1-69F5B8A09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3D11122-A3B3-4818-ACCC-ABBD2047D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33A118F-006C-4852-8833-8A22AFEDE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8B88484-F61C-44C4-8DC8-6C56D668E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ECD7185-0569-4EE2-BD0D-CCAB683A3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56F8D5E-2C1B-4E75-A031-C506BC63D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A73863D-3421-4049-9BA8-56C1ABDCD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223</c:v>
                </c:pt>
                <c:pt idx="1">
                  <c:v>-0.67210000000000003</c:v>
                </c:pt>
                <c:pt idx="2">
                  <c:v>0.32100000000000001</c:v>
                </c:pt>
                <c:pt idx="3">
                  <c:v>0.39179999999999998</c:v>
                </c:pt>
                <c:pt idx="4">
                  <c:v>0.2203</c:v>
                </c:pt>
                <c:pt idx="5">
                  <c:v>0.36749999999999999</c:v>
                </c:pt>
                <c:pt idx="6">
                  <c:v>0.28089999999999998</c:v>
                </c:pt>
              </c:numCache>
            </c:numRef>
          </c:xVal>
          <c:yVal>
            <c:numRef>
              <c:f>Sheet1!$B$2:$B$8</c:f>
              <c:numCache>
                <c:formatCode>General</c:formatCode>
                <c:ptCount val="7"/>
                <c:pt idx="0">
                  <c:v>17181.197982345519</c:v>
                </c:pt>
                <c:pt idx="1">
                  <c:v>5644</c:v>
                </c:pt>
                <c:pt idx="2">
                  <c:v>68443.006369426745</c:v>
                </c:pt>
                <c:pt idx="3">
                  <c:v>48994.894366197179</c:v>
                </c:pt>
                <c:pt idx="4">
                  <c:v>75992.745535714275</c:v>
                </c:pt>
                <c:pt idx="5">
                  <c:v>21416.964285714279</c:v>
                </c:pt>
                <c:pt idx="6">
                  <c:v>21986.73913043478</c:v>
                </c:pt>
              </c:numCache>
            </c:numRef>
          </c:yVal>
          <c:bubbleSize>
            <c:numRef>
              <c:f>Sheet1!$C$2:$C$8</c:f>
              <c:numCache>
                <c:formatCode>General</c:formatCode>
                <c:ptCount val="7"/>
                <c:pt idx="0">
                  <c:v>1058631.9765999999</c:v>
                </c:pt>
                <c:pt idx="1">
                  <c:v>8139.9551999999994</c:v>
                </c:pt>
                <c:pt idx="2">
                  <c:v>3648181.7445999999</c:v>
                </c:pt>
                <c:pt idx="3">
                  <c:v>2538781.9904</c:v>
                </c:pt>
                <c:pt idx="4">
                  <c:v>2654418.0469</c:v>
                </c:pt>
                <c:pt idx="5">
                  <c:v>75862.37519999998</c:v>
                </c:pt>
                <c:pt idx="6">
                  <c:v>72733.44779999998</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EFILL SENSITIVE 4CT</c:v>
                  </c:pt>
                  <c:pt idx="2">
                    <c:v>HYDRO 5 SENSITIVE 5 BLADE REFILL SENSITIVE 6CT</c:v>
                  </c:pt>
                  <c:pt idx="3">
                    <c:v>HYDRO 5 SENSITIVE 5 BLADE RAZOR SENSITIVE 3CT</c:v>
                  </c:pt>
                  <c:pt idx="4">
                    <c:v>HYDRO 5 SENSITIVE 5 BLADE REFILL SENSITIVE 12CT</c:v>
                  </c:pt>
                  <c:pt idx="5">
                    <c:v>SCHICK HYDRO 3 SENSITIVE 3 BLADE RAZOR SENSITIVE 4CT</c:v>
                  </c:pt>
                  <c:pt idx="6">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6550F36-AB9E-48EB-B798-26815C4BF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CB53A34-4CFD-473A-B4EF-AEEAAFACD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3CE6C4C-00C6-4092-A9FE-5A5EE9472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90616A7-CDA6-4253-B404-F6B58E65A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4740630-149E-45A7-AA11-3841570C2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0A5768E-1A65-41D7-8246-EE4FF6D9E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68BB89A-9695-488B-9B19-E0714C548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987</c:v>
                </c:pt>
                <c:pt idx="1">
                  <c:v>0.4884</c:v>
                </c:pt>
                <c:pt idx="2">
                  <c:v>0.43</c:v>
                </c:pt>
                <c:pt idx="3">
                  <c:v>0.40289999999999998</c:v>
                </c:pt>
              </c:numCache>
            </c:numRef>
          </c:xVal>
          <c:yVal>
            <c:numRef>
              <c:f>Sheet1!$B$2:$B$5</c:f>
              <c:numCache>
                <c:formatCode>General</c:formatCode>
                <c:ptCount val="4"/>
                <c:pt idx="0">
                  <c:v>10233.43976777939</c:v>
                </c:pt>
                <c:pt idx="1">
                  <c:v>31615.11318242344</c:v>
                </c:pt>
                <c:pt idx="2">
                  <c:v>54222.520710059172</c:v>
                </c:pt>
                <c:pt idx="3">
                  <c:v>38536.181506849323</c:v>
                </c:pt>
              </c:numCache>
            </c:numRef>
          </c:yVal>
          <c:bubbleSize>
            <c:numRef>
              <c:f>Sheet1!$C$2:$C$5</c:f>
              <c:numCache>
                <c:formatCode>General</c:formatCode>
                <c:ptCount val="4"/>
                <c:pt idx="0">
                  <c:v>423999.08850000001</c:v>
                </c:pt>
                <c:pt idx="1">
                  <c:v>1214691.3791</c:v>
                </c:pt>
                <c:pt idx="2">
                  <c:v>2611438.9336000001</c:v>
                </c:pt>
                <c:pt idx="3">
                  <c:v>1343734.6551000001</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03C980E-D37A-4AC9-B02E-328B3367C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E457CB6-F794-4C8F-A9EB-B8DC631D7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5187D06A-FA22-4E1D-AEFD-0349034B1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46BD31C-92FD-4C1D-9399-FB81BA44A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891CDE2-62BA-405A-8624-BD202F7B5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BAC47E4-E6FB-4E4C-8772-C8CC6EA66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65EAC11-9CDA-4561-916B-9F836AE03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80000000000001</c:v>
                </c:pt>
                <c:pt idx="1">
                  <c:v>0.34560000000000002</c:v>
                </c:pt>
              </c:numCache>
            </c:numRef>
          </c:xVal>
          <c:yVal>
            <c:numRef>
              <c:f>Sheet1!$B$2:$B$3</c:f>
              <c:numCache>
                <c:formatCode>General</c:formatCode>
                <c:ptCount val="2"/>
                <c:pt idx="0">
                  <c:v>7625.1282051282042</c:v>
                </c:pt>
                <c:pt idx="1">
                  <c:v>6750.3125</c:v>
                </c:pt>
              </c:numCache>
            </c:numRef>
          </c:yVal>
          <c:bubbleSize>
            <c:numRef>
              <c:f>Sheet1!$C$2:$C$3</c:f>
              <c:numCache>
                <c:formatCode>General</c:formatCode>
                <c:ptCount val="2"/>
                <c:pt idx="0">
                  <c:v>56493.237800000003</c:v>
                </c:pt>
                <c:pt idx="1">
                  <c:v>28272.369699999999</c:v>
                </c:pt>
              </c:numCache>
            </c:numRef>
          </c:bubbleSize>
          <c:bubble3D val="0"/>
          <c:extLst>
            <c:ext xmlns:c15="http://schemas.microsoft.com/office/drawing/2012/chart" uri="{02D57815-91ED-43cb-92C2-25804820EDAC}">
              <c15:datalabelsRange>
                <c15:f>Sheet1!$E$2:$E$50</c15:f>
                <c15:dlblRangeCache>
                  <c:ptCount val="49"/>
                  <c:pt idx="0">
                    <c:v>CREMO 5 BLADE RAZOR NORMAL 2CT</c:v>
                  </c:pt>
                  <c:pt idx="1">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45BBCB9-919D-482C-B549-EC5F23607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9CFE0DB-2CAC-404C-B6FB-D1FA58DD4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E9E1977-9890-44A7-8AF5-FCED2DAB2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A969DC2-8D97-4D72-AA1F-7872B4F6A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203BEC2-6CB2-40FC-8153-8FAA9894E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120A8D4-233D-41E5-88C5-4C36432B1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478F896-34D7-41A8-B5D0-870190372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29170000000000001</c:v>
                </c:pt>
                <c:pt idx="1">
                  <c:v>0.32069999999999999</c:v>
                </c:pt>
                <c:pt idx="2">
                  <c:v>0.39179999999999998</c:v>
                </c:pt>
                <c:pt idx="3">
                  <c:v>0.21940000000000001</c:v>
                </c:pt>
                <c:pt idx="4">
                  <c:v>0.35849999999999999</c:v>
                </c:pt>
                <c:pt idx="5">
                  <c:v>0.20269999999999999</c:v>
                </c:pt>
              </c:numCache>
            </c:numRef>
          </c:xVal>
          <c:yVal>
            <c:numRef>
              <c:f>Sheet1!$B$2:$B$7</c:f>
              <c:numCache>
                <c:formatCode>General</c:formatCode>
                <c:ptCount val="6"/>
                <c:pt idx="0">
                  <c:v>1094.75</c:v>
                </c:pt>
                <c:pt idx="1">
                  <c:v>4560.0253164556962</c:v>
                </c:pt>
                <c:pt idx="2">
                  <c:v>3435.0481927710839</c:v>
                </c:pt>
                <c:pt idx="3">
                  <c:v>5275.4193548387093</c:v>
                </c:pt>
                <c:pt idx="4">
                  <c:v>999.2</c:v>
                </c:pt>
                <c:pt idx="5">
                  <c:v>1055.75</c:v>
                </c:pt>
              </c:numCache>
            </c:numRef>
          </c:yVal>
          <c:bubbleSize>
            <c:numRef>
              <c:f>Sheet1!$C$2:$C$7</c:f>
              <c:numCache>
                <c:formatCode>General</c:formatCode>
                <c:ptCount val="6"/>
                <c:pt idx="0">
                  <c:v>3101.6833000000001</c:v>
                </c:pt>
                <c:pt idx="1">
                  <c:v>244698.5876</c:v>
                </c:pt>
                <c:pt idx="2">
                  <c:v>173389.4657</c:v>
                </c:pt>
                <c:pt idx="3">
                  <c:v>127660.91680000001</c:v>
                </c:pt>
                <c:pt idx="4">
                  <c:v>3205.0187999999998</c:v>
                </c:pt>
                <c:pt idx="5">
                  <c:v>3367.1781000000001</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EFILL SENSITIVE 6CT</c:v>
                  </c:pt>
                  <c:pt idx="2">
                    <c:v>HYDRO 5 SENSITIVE 5 BLADE RAZOR SENSITIVE 3CT</c:v>
                  </c:pt>
                  <c:pt idx="3">
                    <c:v>HYDRO 5 SENSITIVE 5 BLADE REFILL SENSITIVE 12CT</c:v>
                  </c:pt>
                  <c:pt idx="4">
                    <c:v>SCHICK HYDRO 3 SENSITIVE 3 BLADE RAZOR SENSITIVE 4CT</c:v>
                  </c:pt>
                  <c:pt idx="5">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6D5FC8-89DE-4735-B6F5-B90B942E3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9E61B9C-3C2E-4542-9775-E74EC1DD7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0136CAD-EF15-499E-AE81-BC7BBCDC1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009D34C-36CD-4A8D-A4CB-98D669D9B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BB17E78-0EFB-4F3D-B0BD-033BF2469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620C741-27AB-4F21-9531-D987B7152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ECAA719-55B6-48EF-97D3-C02427CDA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9739999999999998</c:v>
                </c:pt>
                <c:pt idx="1">
                  <c:v>0.48749999999999999</c:v>
                </c:pt>
                <c:pt idx="2">
                  <c:v>0.42920000000000003</c:v>
                </c:pt>
                <c:pt idx="3">
                  <c:v>0.39600000000000002</c:v>
                </c:pt>
              </c:numCache>
            </c:numRef>
          </c:xVal>
          <c:yVal>
            <c:numRef>
              <c:f>Sheet1!$B$2:$B$5</c:f>
              <c:numCache>
                <c:formatCode>General</c:formatCode>
                <c:ptCount val="4"/>
                <c:pt idx="0">
                  <c:v>745.05970149253733</c:v>
                </c:pt>
                <c:pt idx="1">
                  <c:v>2192.542857142857</c:v>
                </c:pt>
                <c:pt idx="2">
                  <c:v>3421.4096385542171</c:v>
                </c:pt>
                <c:pt idx="3">
                  <c:v>2624.6851851851852</c:v>
                </c:pt>
              </c:numCache>
            </c:numRef>
          </c:yVal>
          <c:bubbleSize>
            <c:numRef>
              <c:f>Sheet1!$C$2:$C$5</c:f>
              <c:numCache>
                <c:formatCode>General</c:formatCode>
                <c:ptCount val="4"/>
                <c:pt idx="0">
                  <c:v>30082.322400000001</c:v>
                </c:pt>
                <c:pt idx="1">
                  <c:v>78650.092899999989</c:v>
                </c:pt>
                <c:pt idx="2">
                  <c:v>162101.8536</c:v>
                </c:pt>
                <c:pt idx="3">
                  <c:v>85603.147899999982</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7345811-5A9C-49D9-99F8-6A88279A6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A5353B77-ECAD-4B00-AE14-128BD4848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22FB43AC-7D20-4060-9EFF-9F48516FE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27DD412-C8EC-423D-89BB-15331D913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DD101FD-B7A0-4F0E-A9D5-F5D864EB8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D5ED239-22B4-4384-B0BB-835C23680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EEA78A7-05A6-44C2-8824-95F61ED81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09999999999999</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8C86C5B-3C13-4E48-94DD-7DDD7B66E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E39A5F6-B43E-416A-A57C-32D81E849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A50B950-1977-4999-A5B6-B10B7A748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8562749-7E13-40D6-ABCB-8313DF377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087389D-DE26-4C76-8D1D-935F21B6B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F94ACA6-4C51-437B-80EB-0E1557133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3998906-A4AC-4108-BD5E-E1DA07E9F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91049999999999998</c:v>
                </c:pt>
                <c:pt idx="1">
                  <c:v>0.32050000000000001</c:v>
                </c:pt>
                <c:pt idx="2">
                  <c:v>0.39190000000000003</c:v>
                </c:pt>
              </c:numCache>
            </c:numRef>
          </c:xVal>
          <c:yVal>
            <c:numRef>
              <c:f>Sheet1!$B$2:$B$4</c:f>
              <c:numCache>
                <c:formatCode>General</c:formatCode>
                <c:ptCount val="3"/>
                <c:pt idx="0">
                  <c:v>839</c:v>
                </c:pt>
                <c:pt idx="1">
                  <c:v>7307.5535714285706</c:v>
                </c:pt>
                <c:pt idx="2">
                  <c:v>4743.377049180328</c:v>
                </c:pt>
              </c:numCache>
            </c:numRef>
          </c:yVal>
          <c:bubbleSize>
            <c:numRef>
              <c:f>Sheet1!$C$2:$C$4</c:f>
              <c:numCache>
                <c:formatCode>General</c:formatCode>
                <c:ptCount val="3"/>
                <c:pt idx="0">
                  <c:v>1341.184</c:v>
                </c:pt>
                <c:pt idx="1">
                  <c:v>278077.10879999999</c:v>
                </c:pt>
                <c:pt idx="2">
                  <c:v>175947.76449999999</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4CT</c:v>
                  </c:pt>
                  <c:pt idx="1">
                    <c:v>HYDRO 5 SENSITIVE 5 BLADE REFILL SENSITIVE 6CT</c:v>
                  </c:pt>
                  <c:pt idx="2">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738F687-B59D-4E03-BAC7-B84BE0B43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BFBC15-F6A1-49D0-ADCF-B66267383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4B91F9E-4366-4242-8168-08A13F7A5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4F77511-7212-454F-946A-C41FD27E0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9796C28-1B9D-47FB-9863-9F8A46E2C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ECCF799-FD0A-480B-A1F0-7D76F8EC3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9E7801C-7AF9-44E2-ADDE-C9B3B1E0A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9889999999999998</c:v>
                </c:pt>
                <c:pt idx="1">
                  <c:v>0.48880000000000001</c:v>
                </c:pt>
                <c:pt idx="2">
                  <c:v>0.43030000000000002</c:v>
                </c:pt>
                <c:pt idx="3">
                  <c:v>0.35830000000000001</c:v>
                </c:pt>
              </c:numCache>
            </c:numRef>
          </c:xVal>
          <c:yVal>
            <c:numRef>
              <c:f>Sheet1!$B$2:$B$5</c:f>
              <c:numCache>
                <c:formatCode>General</c:formatCode>
                <c:ptCount val="4"/>
                <c:pt idx="0">
                  <c:v>1148.3170731707321</c:v>
                </c:pt>
                <c:pt idx="1">
                  <c:v>3302.6981132075471</c:v>
                </c:pt>
                <c:pt idx="2">
                  <c:v>4936.0153846153844</c:v>
                </c:pt>
                <c:pt idx="3">
                  <c:v>3361.8</c:v>
                </c:pt>
              </c:numCache>
            </c:numRef>
          </c:yVal>
          <c:bubbleSize>
            <c:numRef>
              <c:f>Sheet1!$C$2:$C$5</c:f>
              <c:numCache>
                <c:formatCode>General</c:formatCode>
                <c:ptCount val="4"/>
                <c:pt idx="0">
                  <c:v>28301.748800000001</c:v>
                </c:pt>
                <c:pt idx="1">
                  <c:v>89489.170400000003</c:v>
                </c:pt>
                <c:pt idx="2">
                  <c:v>182797.47649999999</c:v>
                </c:pt>
                <c:pt idx="3">
                  <c:v>86297.400300000008</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Dollar Shave Club</c:v>
                </c:pt>
                <c:pt idx="3">
                  <c:v>Schick</c:v>
                </c:pt>
                <c:pt idx="4">
                  <c:v>Van Der Hagen</c:v>
                </c:pt>
                <c:pt idx="5">
                  <c:v>Equate</c:v>
                </c:pt>
                <c:pt idx="6">
                  <c:v>Cremo</c:v>
                </c:pt>
                <c:pt idx="7">
                  <c:v>Others</c:v>
                </c:pt>
              </c:strCache>
            </c:strRef>
          </c:cat>
          <c:val>
            <c:numRef>
              <c:f>Sheet1!$B$2:$B$9</c:f>
              <c:numCache>
                <c:formatCode>General</c:formatCode>
                <c:ptCount val="8"/>
                <c:pt idx="0">
                  <c:v>0.68783737576687554</c:v>
                </c:pt>
                <c:pt idx="1">
                  <c:v>0.18097371641078247</c:v>
                </c:pt>
                <c:pt idx="2">
                  <c:v>4.2128204910829088E-2</c:v>
                </c:pt>
                <c:pt idx="3">
                  <c:v>4.1668856730277419E-2</c:v>
                </c:pt>
                <c:pt idx="4">
                  <c:v>2.5361219201347384E-2</c:v>
                </c:pt>
                <c:pt idx="5">
                  <c:v>2.1685868579228024E-2</c:v>
                </c:pt>
                <c:pt idx="6">
                  <c:v>3.4150862885062638E-4</c:v>
                </c:pt>
                <c:pt idx="7">
                  <c:v>3.249771809501202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Dollar Shave Club</c:v>
                </c:pt>
                <c:pt idx="3">
                  <c:v>Schick</c:v>
                </c:pt>
                <c:pt idx="4">
                  <c:v>Van Der Hagen</c:v>
                </c:pt>
                <c:pt idx="5">
                  <c:v>Equate</c:v>
                </c:pt>
                <c:pt idx="6">
                  <c:v>Cremo</c:v>
                </c:pt>
                <c:pt idx="7">
                  <c:v>Others</c:v>
                </c:pt>
              </c:strCache>
            </c:strRef>
          </c:cat>
          <c:val>
            <c:numRef>
              <c:f>Sheet1!$C$2:$C$9</c:f>
              <c:numCache>
                <c:formatCode>General</c:formatCode>
                <c:ptCount val="8"/>
                <c:pt idx="0">
                  <c:v>0.61141304347826086</c:v>
                </c:pt>
                <c:pt idx="1">
                  <c:v>0.18858695652173912</c:v>
                </c:pt>
                <c:pt idx="2">
                  <c:v>7.9347826086956522E-2</c:v>
                </c:pt>
                <c:pt idx="3">
                  <c:v>5.0543478260869572E-2</c:v>
                </c:pt>
                <c:pt idx="4">
                  <c:v>2.9347826086956526E-2</c:v>
                </c:pt>
                <c:pt idx="5">
                  <c:v>3.8043478260869568E-2</c:v>
                </c:pt>
                <c:pt idx="6">
                  <c:v>2.7173913043478264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Dollar Shave Club</c:v>
                </c:pt>
                <c:pt idx="3">
                  <c:v>Schick</c:v>
                </c:pt>
                <c:pt idx="4">
                  <c:v>Van Der Hagen</c:v>
                </c:pt>
                <c:pt idx="5">
                  <c:v>Equate</c:v>
                </c:pt>
                <c:pt idx="6">
                  <c:v>Cremo</c:v>
                </c:pt>
                <c:pt idx="7">
                  <c:v>Others</c:v>
                </c:pt>
              </c:strCache>
            </c:strRef>
          </c:cat>
          <c:val>
            <c:numRef>
              <c:f>Sheet1!$D$2:$D$9</c:f>
              <c:numCache>
                <c:formatCode>General</c:formatCode>
                <c:ptCount val="8"/>
                <c:pt idx="0">
                  <c:v>0.88889185877198296</c:v>
                </c:pt>
                <c:pt idx="1">
                  <c:v>1.0420682089197735</c:v>
                </c:pt>
                <c:pt idx="2">
                  <c:v>1.8834846216426397</c:v>
                </c:pt>
                <c:pt idx="3">
                  <c:v>1.2129797221948659</c:v>
                </c:pt>
                <c:pt idx="4">
                  <c:v>1.1571930297971378</c:v>
                </c:pt>
                <c:pt idx="5">
                  <c:v>1.7542981099364314</c:v>
                </c:pt>
                <c:pt idx="6">
                  <c:v>7.9570209206526243</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766B403-40D5-4E09-AB9A-CAC2E68D6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49D9B57-EED7-478A-A5E1-355D555F3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8329A53-A07F-4359-86AC-1DC965DC7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EFEC562-8A78-4247-8D58-D499DEAE9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E6390B8-7EE0-4A52-A88B-290EC5AD0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BCB01C1-7EA4-491D-8C4F-BFA9B08ED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250EA88-16FD-49FF-8843-A33CC4861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2228</c:v>
                </c:pt>
                <c:pt idx="1">
                  <c:v>-0.64170000000000005</c:v>
                </c:pt>
                <c:pt idx="2">
                  <c:v>0.3211</c:v>
                </c:pt>
                <c:pt idx="3">
                  <c:v>0.39179999999999998</c:v>
                </c:pt>
                <c:pt idx="4">
                  <c:v>0.2205</c:v>
                </c:pt>
                <c:pt idx="5">
                  <c:v>0.3679</c:v>
                </c:pt>
                <c:pt idx="6">
                  <c:v>0.2843</c:v>
                </c:pt>
              </c:numCache>
            </c:numRef>
          </c:xVal>
          <c:yVal>
            <c:numRef>
              <c:f>Sheet1!$B$2:$B$8</c:f>
              <c:numCache>
                <c:formatCode>General</c:formatCode>
                <c:ptCount val="7"/>
                <c:pt idx="0">
                  <c:v>14923.912087912089</c:v>
                </c:pt>
                <c:pt idx="1">
                  <c:v>4359</c:v>
                </c:pt>
                <c:pt idx="2">
                  <c:v>57541.387499999997</c:v>
                </c:pt>
                <c:pt idx="3">
                  <c:v>41378.275862068956</c:v>
                </c:pt>
                <c:pt idx="4">
                  <c:v>66122.918367346938</c:v>
                </c:pt>
                <c:pt idx="5">
                  <c:v>19149.166666666672</c:v>
                </c:pt>
                <c:pt idx="6">
                  <c:v>19381.2</c:v>
                </c:pt>
              </c:numCache>
            </c:numRef>
          </c:yVal>
          <c:bubbleSize>
            <c:numRef>
              <c:f>Sheet1!$C$2:$C$8</c:f>
              <c:numCache>
                <c:formatCode>General</c:formatCode>
                <c:ptCount val="7"/>
                <c:pt idx="0">
                  <c:v>1055523.5941999999</c:v>
                </c:pt>
                <c:pt idx="1">
                  <c:v>6169.4463999999998</c:v>
                </c:pt>
                <c:pt idx="2">
                  <c:v>3125406.0482000001</c:v>
                </c:pt>
                <c:pt idx="3">
                  <c:v>2189444.7601999999</c:v>
                </c:pt>
                <c:pt idx="4">
                  <c:v>2525616.0184999998</c:v>
                </c:pt>
                <c:pt idx="5">
                  <c:v>72621.147599999997</c:v>
                </c:pt>
                <c:pt idx="6">
                  <c:v>69360.267600000006</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EFILL SENSITIVE 4CT</c:v>
                  </c:pt>
                  <c:pt idx="2">
                    <c:v>HYDRO 5 SENSITIVE 5 BLADE REFILL SENSITIVE 6CT</c:v>
                  </c:pt>
                  <c:pt idx="3">
                    <c:v>HYDRO 5 SENSITIVE 5 BLADE RAZOR SENSITIVE 3CT</c:v>
                  </c:pt>
                  <c:pt idx="4">
                    <c:v>HYDRO 5 SENSITIVE 5 BLADE REFILL SENSITIVE 12CT</c:v>
                  </c:pt>
                  <c:pt idx="5">
                    <c:v>SCHICK HYDRO 3 SENSITIVE 3 BLADE RAZOR SENSITIVE 4CT</c:v>
                  </c:pt>
                  <c:pt idx="6">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75F7E85-D313-4B40-A6C2-BC992586A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0C0B75E-B47E-4E8B-B772-44801F048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D0F93CA-E92C-4D93-B0C0-FC0585E47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AA96DB7-FBD9-44C8-873B-A76040457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8B6629D-6FFC-42CB-AE65-98A3FE359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0D91CD5-E9B0-4CDE-987C-2038D67D9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B769060-063D-4648-B14C-D953632C5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987</c:v>
                </c:pt>
                <c:pt idx="1">
                  <c:v>0.4884</c:v>
                </c:pt>
                <c:pt idx="2">
                  <c:v>0.43009999999999998</c:v>
                </c:pt>
                <c:pt idx="3">
                  <c:v>0.40649999999999997</c:v>
                </c:pt>
              </c:numCache>
            </c:numRef>
          </c:xVal>
          <c:yVal>
            <c:numRef>
              <c:f>Sheet1!$B$2:$B$5</c:f>
              <c:numCache>
                <c:formatCode>General</c:formatCode>
                <c:ptCount val="4"/>
                <c:pt idx="0">
                  <c:v>8564.5633802816901</c:v>
                </c:pt>
                <c:pt idx="1">
                  <c:v>26568.493506493509</c:v>
                </c:pt>
                <c:pt idx="2">
                  <c:v>46244.011627906977</c:v>
                </c:pt>
                <c:pt idx="3">
                  <c:v>32905.133333333331</c:v>
                </c:pt>
              </c:numCache>
            </c:numRef>
          </c:yVal>
          <c:bubbleSize>
            <c:numRef>
              <c:f>Sheet1!$C$2:$C$5</c:f>
              <c:numCache>
                <c:formatCode>General</c:formatCode>
                <c:ptCount val="4"/>
                <c:pt idx="0">
                  <c:v>365615.01729999989</c:v>
                </c:pt>
                <c:pt idx="1">
                  <c:v>1046552.1158</c:v>
                </c:pt>
                <c:pt idx="2">
                  <c:v>2266539.6035000002</c:v>
                </c:pt>
                <c:pt idx="3">
                  <c:v>1171834.1069</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4925574-9F56-488A-B453-F188719AE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95DC7FB-C7BE-44E5-B9B4-D4B04CE3B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3D39A41F-E1C6-41F5-892D-3094C6D7D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4C7A466-94D9-424A-80EA-F11DB297E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E4ED813-5F68-43C3-8C5C-06315770F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AB07CFC-7ED1-4BFA-B55E-417410211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1A4DDA0-BCB4-4A29-8890-06236D7A0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59999999999998</c:v>
                </c:pt>
                <c:pt idx="1">
                  <c:v>0.34639999999999999</c:v>
                </c:pt>
              </c:numCache>
            </c:numRef>
          </c:xVal>
          <c:yVal>
            <c:numRef>
              <c:f>Sheet1!$B$2:$B$3</c:f>
              <c:numCache>
                <c:formatCode>General</c:formatCode>
                <c:ptCount val="2"/>
                <c:pt idx="0">
                  <c:v>6680.8461538461543</c:v>
                </c:pt>
                <c:pt idx="1">
                  <c:v>5990.2857142857138</c:v>
                </c:pt>
              </c:numCache>
            </c:numRef>
          </c:yVal>
          <c:bubbleSize>
            <c:numRef>
              <c:f>Sheet1!$C$2:$C$3</c:f>
              <c:numCache>
                <c:formatCode>General</c:formatCode>
                <c:ptCount val="2"/>
                <c:pt idx="0">
                  <c:v>55007.155300000013</c:v>
                </c:pt>
                <c:pt idx="1">
                  <c:v>27404.931199999999</c:v>
                </c:pt>
              </c:numCache>
            </c:numRef>
          </c:bubbleSize>
          <c:bubble3D val="0"/>
          <c:extLst>
            <c:ext xmlns:c15="http://schemas.microsoft.com/office/drawing/2012/chart" uri="{02D57815-91ED-43cb-92C2-25804820EDAC}">
              <c15:datalabelsRange>
                <c15:f>Sheet1!$E$2:$E$50</c15:f>
                <c15:dlblRangeCache>
                  <c:ptCount val="49"/>
                  <c:pt idx="0">
                    <c:v>CREMO 5 BLADE RAZOR NORMAL 2CT</c:v>
                  </c:pt>
                  <c:pt idx="1">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AD4638A-649C-4BD6-BA4D-E9FF7B642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448B94E-96EE-4DC5-A57D-39C043FBA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35AFD1B-1DF3-4701-B2BC-D2C34CA34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B6E6373-E977-4B4C-A5EF-0C128A507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B1F501D-CA1A-499D-910E-1D4130131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08B104B-AB25-44A4-B9A6-99423E7CB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5C159E8-E346-496B-B375-1CE467C75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6</c:v>
                </c:pt>
                <c:pt idx="1">
                  <c:v>0.34960000000000002</c:v>
                </c:pt>
                <c:pt idx="2">
                  <c:v>0.35170000000000001</c:v>
                </c:pt>
                <c:pt idx="3">
                  <c:v>0.36099999999999999</c:v>
                </c:pt>
                <c:pt idx="4">
                  <c:v>0.34610000000000002</c:v>
                </c:pt>
                <c:pt idx="5">
                  <c:v>0.37019999999999997</c:v>
                </c:pt>
                <c:pt idx="6">
                  <c:v>0.31940000000000002</c:v>
                </c:pt>
                <c:pt idx="7">
                  <c:v>0.29509999999999997</c:v>
                </c:pt>
              </c:numCache>
            </c:numRef>
          </c:xVal>
          <c:yVal>
            <c:numRef>
              <c:f>Sheet1!$B$2:$B$9</c:f>
              <c:numCache>
                <c:formatCode>General</c:formatCode>
                <c:ptCount val="8"/>
                <c:pt idx="0">
                  <c:v>14944.044795783921</c:v>
                </c:pt>
                <c:pt idx="1">
                  <c:v>6009.7767857142853</c:v>
                </c:pt>
                <c:pt idx="2">
                  <c:v>52579.062832800853</c:v>
                </c:pt>
                <c:pt idx="3">
                  <c:v>42879.101283880183</c:v>
                </c:pt>
                <c:pt idx="4">
                  <c:v>7261.4353312302837</c:v>
                </c:pt>
                <c:pt idx="5">
                  <c:v>42642.536842105263</c:v>
                </c:pt>
                <c:pt idx="6">
                  <c:v>6803.5545023696686</c:v>
                </c:pt>
                <c:pt idx="7">
                  <c:v>51342.777129521593</c:v>
                </c:pt>
              </c:numCache>
            </c:numRef>
          </c:yVal>
          <c:bubbleSize>
            <c:numRef>
              <c:f>Sheet1!$C$2:$C$9</c:f>
              <c:numCache>
                <c:formatCode>General</c:formatCode>
                <c:ptCount val="8"/>
                <c:pt idx="0">
                  <c:v>838701.68579999998</c:v>
                </c:pt>
                <c:pt idx="1">
                  <c:v>350237.70730000013</c:v>
                </c:pt>
                <c:pt idx="2">
                  <c:v>3200726.89</c:v>
                </c:pt>
                <c:pt idx="3">
                  <c:v>1920827.2086</c:v>
                </c:pt>
                <c:pt idx="4">
                  <c:v>301018.2378</c:v>
                </c:pt>
                <c:pt idx="5">
                  <c:v>2551270.2801999999</c:v>
                </c:pt>
                <c:pt idx="6">
                  <c:v>390839.13900000002</c:v>
                </c:pt>
                <c:pt idx="7">
                  <c:v>3101731.2096000011</c:v>
                </c:pt>
              </c:numCache>
            </c:numRef>
          </c:bubbleSize>
          <c:bubble3D val="0"/>
          <c:extLst>
            <c:ext xmlns:c15="http://schemas.microsoft.com/office/drawing/2012/chart" uri="{02D57815-91ED-43cb-92C2-25804820EDAC}">
              <c15:datalabelsRange>
                <c15:f>Sheet1!$E$2:$E$50</c15:f>
                <c15:dlblRangeCache>
                  <c:ptCount val="49"/>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F682A37-6701-462B-9647-6AD3B3C5B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B480526-9075-45ED-8B89-E22514BCD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70A3EDB-9676-4420-B140-B970A6470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5E6D4D3-F3D7-4AEF-AD1E-BF53823D3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C57E5B3-6CBB-47A4-9F86-55F1C799A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5FA79EF-042D-4AA7-B487-B16B6842F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F73A10A-0C9B-450B-9DFF-A571514FE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4729999999999998</c:v>
                </c:pt>
                <c:pt idx="1">
                  <c:v>0.48370000000000002</c:v>
                </c:pt>
                <c:pt idx="2">
                  <c:v>0.5474</c:v>
                </c:pt>
                <c:pt idx="3">
                  <c:v>0.44769999999999999</c:v>
                </c:pt>
                <c:pt idx="4">
                  <c:v>0.29899999999999999</c:v>
                </c:pt>
                <c:pt idx="5">
                  <c:v>0.4032</c:v>
                </c:pt>
              </c:numCache>
            </c:numRef>
          </c:xVal>
          <c:yVal>
            <c:numRef>
              <c:f>Sheet1!$B$2:$B$7</c:f>
              <c:numCache>
                <c:formatCode>General</c:formatCode>
                <c:ptCount val="6"/>
                <c:pt idx="0">
                  <c:v>34693.635394456287</c:v>
                </c:pt>
                <c:pt idx="1">
                  <c:v>88856.375634517768</c:v>
                </c:pt>
                <c:pt idx="2">
                  <c:v>37190.417101147032</c:v>
                </c:pt>
                <c:pt idx="3">
                  <c:v>39700.241492864981</c:v>
                </c:pt>
                <c:pt idx="4">
                  <c:v>17923.486707566459</c:v>
                </c:pt>
                <c:pt idx="5">
                  <c:v>38983.218623481793</c:v>
                </c:pt>
              </c:numCache>
            </c:numRef>
          </c:yVal>
          <c:bubbleSize>
            <c:numRef>
              <c:f>Sheet1!$C$2:$C$7</c:f>
              <c:numCache>
                <c:formatCode>General</c:formatCode>
                <c:ptCount val="6"/>
                <c:pt idx="0">
                  <c:v>1798622.3696000001</c:v>
                </c:pt>
                <c:pt idx="1">
                  <c:v>4518773.5040000007</c:v>
                </c:pt>
                <c:pt idx="2">
                  <c:v>1614221.3448999999</c:v>
                </c:pt>
                <c:pt idx="3">
                  <c:v>1997336.7135999999</c:v>
                </c:pt>
                <c:pt idx="4">
                  <c:v>1228819.4014000001</c:v>
                </c:pt>
                <c:pt idx="5">
                  <c:v>2298580.1269999999</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903CE16-5C33-4337-84A1-273F7E532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FC60A94-3F6E-497A-B4CB-A2CE3A497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D9F232E-C32C-46B6-B2E6-59C239B54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9A676C6-4003-43CD-B4F2-1F5DB594C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E12E57F-243B-4038-A939-85E6434E4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0509014-D05E-4B4D-A71D-3F278E293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81EB854-CDC2-4FDF-ADAA-EDE187258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0980000000000002</c:v>
                </c:pt>
                <c:pt idx="1">
                  <c:v>0.35680000000000001</c:v>
                </c:pt>
                <c:pt idx="2">
                  <c:v>0.3579</c:v>
                </c:pt>
                <c:pt idx="3">
                  <c:v>0.36799999999999999</c:v>
                </c:pt>
                <c:pt idx="4">
                  <c:v>0.35389999999999999</c:v>
                </c:pt>
                <c:pt idx="5">
                  <c:v>0.37519999999999998</c:v>
                </c:pt>
                <c:pt idx="6">
                  <c:v>0.32700000000000001</c:v>
                </c:pt>
                <c:pt idx="7">
                  <c:v>0.30099999999999999</c:v>
                </c:pt>
              </c:numCache>
            </c:numRef>
          </c:xVal>
          <c:yVal>
            <c:numRef>
              <c:f>Sheet1!$B$2:$B$9</c:f>
              <c:numCache>
                <c:formatCode>General</c:formatCode>
                <c:ptCount val="8"/>
                <c:pt idx="0">
                  <c:v>874</c:v>
                </c:pt>
                <c:pt idx="1">
                  <c:v>413.27272727272731</c:v>
                </c:pt>
                <c:pt idx="2">
                  <c:v>4372</c:v>
                </c:pt>
                <c:pt idx="3">
                  <c:v>3373.205882352941</c:v>
                </c:pt>
                <c:pt idx="4">
                  <c:v>574.65625</c:v>
                </c:pt>
                <c:pt idx="5">
                  <c:v>3032.8736842105259</c:v>
                </c:pt>
                <c:pt idx="6">
                  <c:v>506.07142857142861</c:v>
                </c:pt>
                <c:pt idx="7">
                  <c:v>3945.977011494253</c:v>
                </c:pt>
              </c:numCache>
            </c:numRef>
          </c:yVal>
          <c:bubbleSize>
            <c:numRef>
              <c:f>Sheet1!$C$2:$C$9</c:f>
              <c:numCache>
                <c:formatCode>General</c:formatCode>
                <c:ptCount val="8"/>
                <c:pt idx="0">
                  <c:v>2412.9196000000002</c:v>
                </c:pt>
                <c:pt idx="1">
                  <c:v>23392.570500000002</c:v>
                </c:pt>
                <c:pt idx="2">
                  <c:v>263862.60159999999</c:v>
                </c:pt>
                <c:pt idx="3">
                  <c:v>144963.85519999999</c:v>
                </c:pt>
                <c:pt idx="4">
                  <c:v>23760.718799999999</c:v>
                </c:pt>
                <c:pt idx="5">
                  <c:v>180016.2997</c:v>
                </c:pt>
                <c:pt idx="6">
                  <c:v>28611.328399999999</c:v>
                </c:pt>
                <c:pt idx="7">
                  <c:v>239980.5024</c:v>
                </c:pt>
              </c:numCache>
            </c:numRef>
          </c:bubbleSize>
          <c:bubble3D val="0"/>
          <c:extLst>
            <c:ext xmlns:c15="http://schemas.microsoft.com/office/drawing/2012/chart" uri="{02D57815-91ED-43cb-92C2-25804820EDAC}">
              <c15:datalabelsRange>
                <c15:f>Sheet1!$E$2:$E$50</c15:f>
                <c15:dlblRangeCache>
                  <c:ptCount val="49"/>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84A4476-D68F-4F15-944F-943F4E024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20968FD-1136-42D6-B62B-5BFAB2760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F9828D9-6AF2-4E01-B1F1-F58ABBA30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8510515-F94C-4049-924D-FA68F2AD6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954BD95-342A-46AB-98F0-BA545FE03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BBDF588-644A-49DC-B58A-2D4CFD374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AB5BB95-1DAF-4593-977A-5030B2670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5319999999999999</c:v>
                </c:pt>
                <c:pt idx="1">
                  <c:v>0.48870000000000002</c:v>
                </c:pt>
                <c:pt idx="2">
                  <c:v>0.55089999999999995</c:v>
                </c:pt>
                <c:pt idx="3">
                  <c:v>0.44790000000000002</c:v>
                </c:pt>
                <c:pt idx="4">
                  <c:v>0.30880000000000002</c:v>
                </c:pt>
                <c:pt idx="5">
                  <c:v>0.40329999999999999</c:v>
                </c:pt>
              </c:numCache>
            </c:numRef>
          </c:xVal>
          <c:yVal>
            <c:numRef>
              <c:f>Sheet1!$B$2:$B$7</c:f>
              <c:numCache>
                <c:formatCode>General</c:formatCode>
                <c:ptCount val="6"/>
                <c:pt idx="0">
                  <c:v>2490.9578947368418</c:v>
                </c:pt>
                <c:pt idx="1">
                  <c:v>6191.2653061224491</c:v>
                </c:pt>
                <c:pt idx="2">
                  <c:v>2380.0744680851062</c:v>
                </c:pt>
                <c:pt idx="3">
                  <c:v>2854.1777777777779</c:v>
                </c:pt>
                <c:pt idx="4">
                  <c:v>1268.855670103093</c:v>
                </c:pt>
                <c:pt idx="5">
                  <c:v>3147.9191919191921</c:v>
                </c:pt>
              </c:numCache>
            </c:numRef>
          </c:yVal>
          <c:bubbleSize>
            <c:numRef>
              <c:f>Sheet1!$C$2:$C$7</c:f>
              <c:numCache>
                <c:formatCode>General</c:formatCode>
                <c:ptCount val="6"/>
                <c:pt idx="0">
                  <c:v>129385.6139</c:v>
                </c:pt>
                <c:pt idx="1">
                  <c:v>310226.51689999999</c:v>
                </c:pt>
                <c:pt idx="2">
                  <c:v>100468.05989999999</c:v>
                </c:pt>
                <c:pt idx="3">
                  <c:v>141820.57579999999</c:v>
                </c:pt>
                <c:pt idx="4">
                  <c:v>85078.340200000021</c:v>
                </c:pt>
                <c:pt idx="5">
                  <c:v>185958.43340000001</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1098FD9-3031-438F-AF17-4F70418D2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F88D9DA-903D-40ED-AD66-88542F0E9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E8DA3AC-88B4-48FA-9707-C3CAE96D8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3EECB85-9B03-4519-A143-1A6E0AA0E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7D63AE-8D5C-43E2-B61A-BD479A603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2631D5A-EF86-491E-BBD2-5B9A92443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D21C7AE-C82A-4027-863F-6172F2E43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5060000000000002</c:v>
                </c:pt>
                <c:pt idx="1">
                  <c:v>0.35320000000000001</c:v>
                </c:pt>
                <c:pt idx="2">
                  <c:v>0.35849999999999999</c:v>
                </c:pt>
                <c:pt idx="3">
                  <c:v>0.3458</c:v>
                </c:pt>
                <c:pt idx="4">
                  <c:v>0.3705</c:v>
                </c:pt>
                <c:pt idx="5">
                  <c:v>0.32150000000000001</c:v>
                </c:pt>
                <c:pt idx="6">
                  <c:v>0.29580000000000001</c:v>
                </c:pt>
              </c:numCache>
            </c:numRef>
          </c:xVal>
          <c:yVal>
            <c:numRef>
              <c:f>Sheet1!$B$2:$B$8</c:f>
              <c:numCache>
                <c:formatCode>General</c:formatCode>
                <c:ptCount val="7"/>
                <c:pt idx="0">
                  <c:v>536.43661971830988</c:v>
                </c:pt>
                <c:pt idx="1">
                  <c:v>4400.727272727273</c:v>
                </c:pt>
                <c:pt idx="2">
                  <c:v>4859.9333333333334</c:v>
                </c:pt>
                <c:pt idx="3">
                  <c:v>743.54166666666663</c:v>
                </c:pt>
                <c:pt idx="4">
                  <c:v>3557.6049382716051</c:v>
                </c:pt>
                <c:pt idx="5">
                  <c:v>609.59016393442619</c:v>
                </c:pt>
                <c:pt idx="6">
                  <c:v>5031.3076923076924</c:v>
                </c:pt>
              </c:numCache>
            </c:numRef>
          </c:yVal>
          <c:bubbleSize>
            <c:numRef>
              <c:f>Sheet1!$C$2:$C$8</c:f>
              <c:numCache>
                <c:formatCode>General</c:formatCode>
                <c:ptCount val="7"/>
                <c:pt idx="0">
                  <c:v>24732.3076</c:v>
                </c:pt>
                <c:pt idx="1">
                  <c:v>219178.04300000001</c:v>
                </c:pt>
                <c:pt idx="2">
                  <c:v>93532.547699999996</c:v>
                </c:pt>
                <c:pt idx="3">
                  <c:v>11674.0008</c:v>
                </c:pt>
                <c:pt idx="4">
                  <c:v>181395.77009999999</c:v>
                </c:pt>
                <c:pt idx="5">
                  <c:v>25231.624599999999</c:v>
                </c:pt>
                <c:pt idx="6">
                  <c:v>230309.52960000001</c:v>
                </c:pt>
              </c:numCache>
            </c:numRef>
          </c:bubbleSize>
          <c:bubble3D val="0"/>
          <c:extLst>
            <c:ext xmlns:c15="http://schemas.microsoft.com/office/drawing/2012/chart" uri="{02D57815-91ED-43cb-92C2-25804820EDAC}">
              <c15:datalabelsRange>
                <c15:f>Sheet1!$E$2:$E$50</c15:f>
                <c15:dlblRangeCache>
                  <c:ptCount val="49"/>
                  <c:pt idx="0">
                    <c:v>SCHICK XTREME 3 SENSITIVE GREEN BLACK 3 BLADE DISPOSABLE SENSITIVE 4CT</c:v>
                  </c:pt>
                  <c:pt idx="1">
                    <c:v>SCHICK XTREME 2 SENSITIVE 2 BLADE DISPOSABLE NORMAL 12CT</c:v>
                  </c:pt>
                  <c:pt idx="2">
                    <c:v>SCHICK XTREME 3 SENSITIVE BLACK GREEN 3 BLADE DISPOSABLE SENSITIVE 12CT</c:v>
                  </c:pt>
                  <c:pt idx="3">
                    <c:v>SCHICK XTREME 3 SENSITIVE GREEN BLACK 3 BLADE DISPOSABLE SENSITIVE 12CT</c:v>
                  </c:pt>
                  <c:pt idx="4">
                    <c:v>SCHICK XTREME 3 SENSITIVE BLACK 3 BLADE DISPOSABLE SENSITIVE 4CT</c:v>
                  </c:pt>
                  <c:pt idx="5">
                    <c:v>SCHICK XTREME 3 SENSITIVE GREEN BLACK 3 BLADE DISPOSABLE SENSITIVE 8CT</c:v>
                  </c:pt>
                  <c:pt idx="6">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8C70CEF-908F-4600-92DB-FF032D5CF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E56DF11-092A-442D-845D-8A6097954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29DF85B-B318-4508-BF75-FF7F2EEC7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18A78E7-F418-4FD0-A3E7-AECD56C34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AEF849F-226C-4602-B102-70D65561D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61599CF-57AF-4497-A116-AF113682A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007B1CC-E4C5-412B-8158-9363462A3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4800000000000001</c:v>
                </c:pt>
                <c:pt idx="1">
                  <c:v>0.4844</c:v>
                </c:pt>
                <c:pt idx="2">
                  <c:v>0.54790000000000005</c:v>
                </c:pt>
                <c:pt idx="3">
                  <c:v>0.44729999999999998</c:v>
                </c:pt>
                <c:pt idx="4">
                  <c:v>0.30309999999999998</c:v>
                </c:pt>
                <c:pt idx="5">
                  <c:v>0.4032</c:v>
                </c:pt>
              </c:numCache>
            </c:numRef>
          </c:xVal>
          <c:yVal>
            <c:numRef>
              <c:f>Sheet1!$B$2:$B$7</c:f>
              <c:numCache>
                <c:formatCode>General</c:formatCode>
                <c:ptCount val="6"/>
                <c:pt idx="0">
                  <c:v>2923.9189189189192</c:v>
                </c:pt>
                <c:pt idx="1">
                  <c:v>5807.0109890109889</c:v>
                </c:pt>
                <c:pt idx="2">
                  <c:v>2862.6341463414628</c:v>
                </c:pt>
                <c:pt idx="3">
                  <c:v>3479.353846153846</c:v>
                </c:pt>
                <c:pt idx="4">
                  <c:v>1727.1789473684209</c:v>
                </c:pt>
                <c:pt idx="5">
                  <c:v>3081.3052631578948</c:v>
                </c:pt>
              </c:numCache>
            </c:numRef>
          </c:yVal>
          <c:bubbleSize>
            <c:numRef>
              <c:f>Sheet1!$C$2:$C$7</c:f>
              <c:numCache>
                <c:formatCode>General</c:formatCode>
                <c:ptCount val="6"/>
                <c:pt idx="0">
                  <c:v>119428.2879</c:v>
                </c:pt>
                <c:pt idx="1">
                  <c:v>272475.62770000001</c:v>
                </c:pt>
                <c:pt idx="2">
                  <c:v>106130.8149</c:v>
                </c:pt>
                <c:pt idx="3">
                  <c:v>125001.96189999999</c:v>
                </c:pt>
                <c:pt idx="4">
                  <c:v>114348.9244</c:v>
                </c:pt>
                <c:pt idx="5">
                  <c:v>174687.43780000001</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4ADDF06-93D7-4DAB-8959-9F9BDB768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B0C8D8E-6603-4C9E-9DBA-B4E3172DE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7605A30-6128-49B5-9E5E-FE6EE4BFF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FB04678-68BD-45A0-9552-3405012FD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4D1B92F-87AD-4C8C-B4BE-DAB4EF5AC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D30FE08-595C-40F8-A9F0-5076B9606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904967A-E8BA-44CB-AE9C-9D58D6B64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40000000000002</c:v>
                </c:pt>
                <c:pt idx="1">
                  <c:v>0.34889999999999999</c:v>
                </c:pt>
                <c:pt idx="2">
                  <c:v>0.35099999999999998</c:v>
                </c:pt>
                <c:pt idx="3">
                  <c:v>0.36049999999999999</c:v>
                </c:pt>
                <c:pt idx="4">
                  <c:v>0.34549999999999997</c:v>
                </c:pt>
                <c:pt idx="5">
                  <c:v>0.36980000000000002</c:v>
                </c:pt>
                <c:pt idx="6">
                  <c:v>0.31850000000000001</c:v>
                </c:pt>
                <c:pt idx="7">
                  <c:v>0.29449999999999998</c:v>
                </c:pt>
              </c:numCache>
            </c:numRef>
          </c:xVal>
          <c:yVal>
            <c:numRef>
              <c:f>Sheet1!$B$2:$B$9</c:f>
              <c:numCache>
                <c:formatCode>General</c:formatCode>
                <c:ptCount val="8"/>
                <c:pt idx="0">
                  <c:v>12997.022988505751</c:v>
                </c:pt>
                <c:pt idx="1">
                  <c:v>5099.131868131868</c:v>
                </c:pt>
                <c:pt idx="2">
                  <c:v>44077.368421052633</c:v>
                </c:pt>
                <c:pt idx="3">
                  <c:v>36036.28767123288</c:v>
                </c:pt>
                <c:pt idx="4">
                  <c:v>6147.757575757576</c:v>
                </c:pt>
                <c:pt idx="5">
                  <c:v>36195.333333333343</c:v>
                </c:pt>
                <c:pt idx="6">
                  <c:v>5750.2906976744189</c:v>
                </c:pt>
                <c:pt idx="7">
                  <c:v>42870.586206896551</c:v>
                </c:pt>
              </c:numCache>
            </c:numRef>
          </c:yVal>
          <c:bubbleSize>
            <c:numRef>
              <c:f>Sheet1!$C$2:$C$9</c:f>
              <c:numCache>
                <c:formatCode>General</c:formatCode>
                <c:ptCount val="8"/>
                <c:pt idx="0">
                  <c:v>836275.50840000005</c:v>
                </c:pt>
                <c:pt idx="1">
                  <c:v>302112.82919999998</c:v>
                </c:pt>
                <c:pt idx="2">
                  <c:v>2717686.2453999999</c:v>
                </c:pt>
                <c:pt idx="3">
                  <c:v>1682330.8056999999</c:v>
                </c:pt>
                <c:pt idx="4">
                  <c:v>265583.51819999999</c:v>
                </c:pt>
                <c:pt idx="5">
                  <c:v>2189858.2104000002</c:v>
                </c:pt>
                <c:pt idx="6">
                  <c:v>336996.18599999999</c:v>
                </c:pt>
                <c:pt idx="7">
                  <c:v>2631441.1776000001</c:v>
                </c:pt>
              </c:numCache>
            </c:numRef>
          </c:bubbleSize>
          <c:bubble3D val="0"/>
          <c:extLst>
            <c:ext xmlns:c15="http://schemas.microsoft.com/office/drawing/2012/chart" uri="{02D57815-91ED-43cb-92C2-25804820EDAC}">
              <c15:datalabelsRange>
                <c15:f>Sheet1!$E$2:$E$50</c15:f>
                <c15:dlblRangeCache>
                  <c:ptCount val="49"/>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B$2:$B$7</c:f>
              <c:numCache>
                <c:formatCode>General</c:formatCode>
                <c:ptCount val="6"/>
                <c:pt idx="0">
                  <c:v>0.66462879645305817</c:v>
                </c:pt>
                <c:pt idx="1">
                  <c:v>0.18553105912505027</c:v>
                </c:pt>
                <c:pt idx="2">
                  <c:v>6.0854558549794685E-2</c:v>
                </c:pt>
                <c:pt idx="3">
                  <c:v>5.4170930417457838E-2</c:v>
                </c:pt>
                <c:pt idx="4">
                  <c:v>3.2748599276019794E-2</c:v>
                </c:pt>
                <c:pt idx="5">
                  <c:v>2.066056178619199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C$2:$C$7</c:f>
              <c:numCache>
                <c:formatCode>General</c:formatCode>
                <c:ptCount val="6"/>
                <c:pt idx="0">
                  <c:v>0.56776947705442915</c:v>
                </c:pt>
                <c:pt idx="1">
                  <c:v>0.19530416221985061</c:v>
                </c:pt>
                <c:pt idx="2">
                  <c:v>0.1088580576307364</c:v>
                </c:pt>
                <c:pt idx="3">
                  <c:v>6.5101387406616862E-2</c:v>
                </c:pt>
                <c:pt idx="4">
                  <c:v>5.6563500533617937E-2</c:v>
                </c:pt>
                <c:pt idx="5">
                  <c:v>6.403415154749199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D$2:$D$7</c:f>
              <c:numCache>
                <c:formatCode>General</c:formatCode>
                <c:ptCount val="6"/>
                <c:pt idx="0">
                  <c:v>0.8542655390263848</c:v>
                </c:pt>
                <c:pt idx="1">
                  <c:v>1.0526763720365178</c:v>
                </c:pt>
                <c:pt idx="2">
                  <c:v>1.7888233885003455</c:v>
                </c:pt>
                <c:pt idx="3">
                  <c:v>1.2017771691371288</c:v>
                </c:pt>
                <c:pt idx="4">
                  <c:v>1.7272036601283474</c:v>
                </c:pt>
                <c:pt idx="5">
                  <c:v>3.09934222554818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1C588DD-22E3-4117-BD4B-335DF2DF2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AFE7F18-890F-4164-B313-4484D6F44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04190B1-2B43-403F-9E6D-5E19FEDB6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F641E95-542D-48E9-AA9A-6F6FC8280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1F93340-61A8-49DA-814C-66B046967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7B5BA4F-741D-4469-B687-5E0A2B1AD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11F5B05-C8FB-4F49-867C-F03696051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4669999999999999</c:v>
                </c:pt>
                <c:pt idx="1">
                  <c:v>0.48330000000000001</c:v>
                </c:pt>
                <c:pt idx="2">
                  <c:v>0.54710000000000003</c:v>
                </c:pt>
                <c:pt idx="3">
                  <c:v>0.44779999999999998</c:v>
                </c:pt>
                <c:pt idx="4">
                  <c:v>0.29770000000000002</c:v>
                </c:pt>
                <c:pt idx="5">
                  <c:v>0.4032</c:v>
                </c:pt>
              </c:numCache>
            </c:numRef>
          </c:xVal>
          <c:yVal>
            <c:numRef>
              <c:f>Sheet1!$B$2:$B$7</c:f>
              <c:numCache>
                <c:formatCode>General</c:formatCode>
                <c:ptCount val="6"/>
                <c:pt idx="0">
                  <c:v>29486.863157894739</c:v>
                </c:pt>
                <c:pt idx="1">
                  <c:v>76941.121212121216</c:v>
                </c:pt>
                <c:pt idx="2">
                  <c:v>32042.247422680412</c:v>
                </c:pt>
                <c:pt idx="3">
                  <c:v>33695.247311827959</c:v>
                </c:pt>
                <c:pt idx="4">
                  <c:v>14956.693877551021</c:v>
                </c:pt>
                <c:pt idx="5">
                  <c:v>32799.737373737371</c:v>
                </c:pt>
              </c:numCache>
            </c:numRef>
          </c:yVal>
          <c:bubbleSize>
            <c:numRef>
              <c:f>Sheet1!$C$2:$C$7</c:f>
              <c:numCache>
                <c:formatCode>General</c:formatCode>
                <c:ptCount val="6"/>
                <c:pt idx="0">
                  <c:v>1549808.4678</c:v>
                </c:pt>
                <c:pt idx="1">
                  <c:v>3936071.3594</c:v>
                </c:pt>
                <c:pt idx="2">
                  <c:v>1407622.4701</c:v>
                </c:pt>
                <c:pt idx="3">
                  <c:v>1730514.1758999999</c:v>
                </c:pt>
                <c:pt idx="4">
                  <c:v>1029392.1368</c:v>
                </c:pt>
                <c:pt idx="5">
                  <c:v>1937934.2557999999</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FFD870F-6959-4DF3-8B8F-5BC40F2FE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6D39B31-2380-416F-88E0-00C5283CE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6D52065-74F7-4665-B905-383090059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6256FA6-3496-46F2-894F-42470EC45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0752260-23D9-426F-BCDC-64CD8F7AA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9E4F0F0-C964-4E30-9AA2-36E9F4E7E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DF2C7E5-7E1F-47FF-9AE9-9FC61AC2E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23</c:v>
                </c:pt>
                <c:pt idx="1">
                  <c:v>0.39179999999999998</c:v>
                </c:pt>
                <c:pt idx="2">
                  <c:v>0.36749999999999999</c:v>
                </c:pt>
              </c:numCache>
            </c:numRef>
          </c:xVal>
          <c:yVal>
            <c:numRef>
              <c:f>Sheet1!$B$2:$B$4</c:f>
              <c:numCache>
                <c:formatCode>General</c:formatCode>
                <c:ptCount val="3"/>
                <c:pt idx="0">
                  <c:v>17181.197982345519</c:v>
                </c:pt>
                <c:pt idx="1">
                  <c:v>48994.894366197179</c:v>
                </c:pt>
                <c:pt idx="2">
                  <c:v>21416.964285714279</c:v>
                </c:pt>
              </c:numCache>
            </c:numRef>
          </c:yVal>
          <c:bubbleSize>
            <c:numRef>
              <c:f>Sheet1!$C$2:$C$4</c:f>
              <c:numCache>
                <c:formatCode>General</c:formatCode>
                <c:ptCount val="3"/>
                <c:pt idx="0">
                  <c:v>1058631.9765999999</c:v>
                </c:pt>
                <c:pt idx="1">
                  <c:v>2538781.9904</c:v>
                </c:pt>
                <c:pt idx="2">
                  <c:v>75862.37519999998</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5AFEF32-7512-4736-A2FB-3AE847AFB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69E4C1CC-13B3-4671-973B-1EB0D87AD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8491A2D-8BCC-457A-AFBE-8696E641D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571FFF4-1725-41B3-B778-4114CCCE0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C35E2C6-1549-40BE-A5A7-1F62CA569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CEC352A-7294-4FD7-BB38-63FB50D93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35CA084-EAFA-4FFD-AD38-55246A925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31615.11318242344</c:v>
                </c:pt>
              </c:numCache>
            </c:numRef>
          </c:yVal>
          <c:bubbleSize>
            <c:numRef>
              <c:f>Sheet1!$C$2:$C$2</c:f>
              <c:numCache>
                <c:formatCode>General</c:formatCode>
                <c:ptCount val="1"/>
                <c:pt idx="0">
                  <c:v>1214691.3791</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6E858B2-6754-45CD-B485-1F39AD273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3F05F218-3348-4FF2-9D53-499B5E05D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91BBBD8-547F-485C-BE10-FDF6D39D6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C6740F0-1B0B-43D5-8AD0-65FE0BC22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BA99CF4-C23D-4D3B-81B9-F29E4E797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B5B56E5-8D1D-4164-BFE0-049BB69E2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6CDBC18-10C5-4033-8993-89BE48057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6680000000000001</c:v>
                </c:pt>
              </c:numCache>
            </c:numRef>
          </c:xVal>
          <c:yVal>
            <c:numRef>
              <c:f>Sheet1!$B$2:$B$2</c:f>
              <c:numCache>
                <c:formatCode>General</c:formatCode>
                <c:ptCount val="1"/>
                <c:pt idx="0">
                  <c:v>7625.1282051282042</c:v>
                </c:pt>
              </c:numCache>
            </c:numRef>
          </c:yVal>
          <c:bubbleSize>
            <c:numRef>
              <c:f>Sheet1!$C$2:$C$2</c:f>
              <c:numCache>
                <c:formatCode>General</c:formatCode>
                <c:ptCount val="1"/>
                <c:pt idx="0">
                  <c:v>56493.237800000003</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082D155-4902-49A2-80B7-EF605A0C5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0458AB2-C1A0-4AA7-8A3B-35B3B3694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D3722C0-35D8-4E9C-87D8-04FDB0B34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D517DA9-31B6-466C-829B-7AA93A7EF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614E842-7166-4128-82E6-6CB9DFFBA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3BF0546-2168-467C-A4B1-A5BFC9D88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CC25129-63BE-46B4-89C3-445E38F5B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9170000000000001</c:v>
                </c:pt>
                <c:pt idx="1">
                  <c:v>0.39179999999999998</c:v>
                </c:pt>
                <c:pt idx="2">
                  <c:v>0.35849999999999999</c:v>
                </c:pt>
              </c:numCache>
            </c:numRef>
          </c:xVal>
          <c:yVal>
            <c:numRef>
              <c:f>Sheet1!$B$2:$B$4</c:f>
              <c:numCache>
                <c:formatCode>General</c:formatCode>
                <c:ptCount val="3"/>
                <c:pt idx="0">
                  <c:v>1094.75</c:v>
                </c:pt>
                <c:pt idx="1">
                  <c:v>3435.0481927710839</c:v>
                </c:pt>
                <c:pt idx="2">
                  <c:v>999.2</c:v>
                </c:pt>
              </c:numCache>
            </c:numRef>
          </c:yVal>
          <c:bubbleSize>
            <c:numRef>
              <c:f>Sheet1!$C$2:$C$4</c:f>
              <c:numCache>
                <c:formatCode>General</c:formatCode>
                <c:ptCount val="3"/>
                <c:pt idx="0">
                  <c:v>3101.6833000000001</c:v>
                </c:pt>
                <c:pt idx="1">
                  <c:v>173389.4657</c:v>
                </c:pt>
                <c:pt idx="2">
                  <c:v>3205.0187999999998</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C32C399-C44F-45BF-BF52-D9DB3F63A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DD2809BC-2D58-4353-A697-ACD8D7E90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30F53135-889D-4007-8C5D-076043945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E5781B0-4A1D-4152-9671-12917C9D6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8462851-4CC1-4F01-A6E8-4BA38BC99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5A7BA4A-458B-4D85-B96B-D32555849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1E4FA02-1847-48C4-814F-A927CD644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749999999999999</c:v>
                </c:pt>
              </c:numCache>
            </c:numRef>
          </c:xVal>
          <c:yVal>
            <c:numRef>
              <c:f>Sheet1!$B$2:$B$2</c:f>
              <c:numCache>
                <c:formatCode>General</c:formatCode>
                <c:ptCount val="1"/>
                <c:pt idx="0">
                  <c:v>2192.542857142857</c:v>
                </c:pt>
              </c:numCache>
            </c:numRef>
          </c:yVal>
          <c:bubbleSize>
            <c:numRef>
              <c:f>Sheet1!$C$2:$C$2</c:f>
              <c:numCache>
                <c:formatCode>General</c:formatCode>
                <c:ptCount val="1"/>
                <c:pt idx="0">
                  <c:v>78650.092899999989</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0711C07-C608-4AA1-A45A-75D26E18E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6148303B-0A92-4B31-8F06-D8AB1CB65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8DD5AD96-91FA-491A-B085-530C5BFB1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F3308D9-06AC-430D-8015-6031ECB3A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BDE8D55-0C8D-4A16-94ED-4FF5E9AC3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4116B83-B892-4C7A-961A-31F271885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5092397-5A54-4C03-84F2-418DAB7E5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09999999999999</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281D3DB-DBC3-43BF-8603-BF5016582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E78F5BE8-BD1D-4965-9EE5-7668C6B4E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0E89C08-6156-4B4C-BD8E-FD5A5F537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344305D-DD1F-41D0-9DF1-218D6B07E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04B1738-5BFE-41D2-8003-23D1A01EE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09DB34E-9CEC-434A-AF64-4B80B3A57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F0FBA53-8FFF-4E5C-8267-23A91EE43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9190000000000003</c:v>
                </c:pt>
              </c:numCache>
            </c:numRef>
          </c:xVal>
          <c:yVal>
            <c:numRef>
              <c:f>Sheet1!$B$2:$B$2</c:f>
              <c:numCache>
                <c:formatCode>General</c:formatCode>
                <c:ptCount val="1"/>
                <c:pt idx="0">
                  <c:v>4743.377049180328</c:v>
                </c:pt>
              </c:numCache>
            </c:numRef>
          </c:yVal>
          <c:bubbleSize>
            <c:numRef>
              <c:f>Sheet1!$C$2:$C$2</c:f>
              <c:numCache>
                <c:formatCode>General</c:formatCode>
                <c:ptCount val="1"/>
                <c:pt idx="0">
                  <c:v>175947.76449999999</c:v>
                </c:pt>
              </c:numCache>
            </c:numRef>
          </c:bubbleSize>
          <c:bubble3D val="0"/>
          <c:extLst>
            <c:ext xmlns:c15="http://schemas.microsoft.com/office/drawing/2012/chart" uri="{02D57815-91ED-43cb-92C2-25804820EDAC}">
              <c15:datalabelsRange>
                <c15:f>Sheet1!$E$2:$E$50</c15:f>
                <c15:dlblRangeCache>
                  <c:ptCount val="49"/>
                  <c:pt idx="0">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84925B3-1EAC-4FEE-ADD5-63C574EAA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8BA99011-58AF-4214-A43D-27C26E359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BF263A87-5D1C-43B3-A559-5249C2CAF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B976C4F-4C29-4A6F-8063-64C22BC56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8FAB32A-3F76-435A-83AE-4F1BA5907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170A7ED-28E1-442C-BC8D-D244C0951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AC3951B-299D-4F4E-B948-135268004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80000000000001</c:v>
                </c:pt>
              </c:numCache>
            </c:numRef>
          </c:xVal>
          <c:yVal>
            <c:numRef>
              <c:f>Sheet1!$B$2:$B$2</c:f>
              <c:numCache>
                <c:formatCode>General</c:formatCode>
                <c:ptCount val="1"/>
                <c:pt idx="0">
                  <c:v>3302.6981132075471</c:v>
                </c:pt>
              </c:numCache>
            </c:numRef>
          </c:yVal>
          <c:bubbleSize>
            <c:numRef>
              <c:f>Sheet1!$C$2:$C$2</c:f>
              <c:numCache>
                <c:formatCode>General</c:formatCode>
                <c:ptCount val="1"/>
                <c:pt idx="0">
                  <c:v>89489.170400000003</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33BE88C-4ECD-43CF-8FE2-6C0765341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2790D20-E320-4FD0-9859-6A8E5F5D9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58049AB-E280-4885-9DDF-3DAD304E0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353299B-89E4-4C65-92B2-6E8529A38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7ACB0E0-5314-42A7-9A05-AC5DAFBA8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AF3FA0D-D6B3-489A-B1AC-F1B107D31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725BBFB-2D63-4E1A-89C8-991385DD4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228</c:v>
                </c:pt>
                <c:pt idx="1">
                  <c:v>0.39179999999999998</c:v>
                </c:pt>
                <c:pt idx="2">
                  <c:v>0.3679</c:v>
                </c:pt>
              </c:numCache>
            </c:numRef>
          </c:xVal>
          <c:yVal>
            <c:numRef>
              <c:f>Sheet1!$B$2:$B$4</c:f>
              <c:numCache>
                <c:formatCode>General</c:formatCode>
                <c:ptCount val="3"/>
                <c:pt idx="0">
                  <c:v>14923.912087912089</c:v>
                </c:pt>
                <c:pt idx="1">
                  <c:v>41378.275862068956</c:v>
                </c:pt>
                <c:pt idx="2">
                  <c:v>19149.166666666672</c:v>
                </c:pt>
              </c:numCache>
            </c:numRef>
          </c:yVal>
          <c:bubbleSize>
            <c:numRef>
              <c:f>Sheet1!$C$2:$C$4</c:f>
              <c:numCache>
                <c:formatCode>General</c:formatCode>
                <c:ptCount val="3"/>
                <c:pt idx="0">
                  <c:v>1055523.5941999999</c:v>
                </c:pt>
                <c:pt idx="1">
                  <c:v>2189444.7601999999</c:v>
                </c:pt>
                <c:pt idx="2">
                  <c:v>72621.147599999997</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B$2:$B$9</c:f>
              <c:numCache>
                <c:formatCode>General</c:formatCode>
                <c:ptCount val="8"/>
                <c:pt idx="0">
                  <c:v>0.64471932029990753</c:v>
                </c:pt>
                <c:pt idx="1">
                  <c:v>0.20469757345628167</c:v>
                </c:pt>
                <c:pt idx="2">
                  <c:v>5.1987613451472806E-2</c:v>
                </c:pt>
                <c:pt idx="3">
                  <c:v>4.4998435929086082E-2</c:v>
                </c:pt>
                <c:pt idx="4">
                  <c:v>3.1729960754940188E-2</c:v>
                </c:pt>
                <c:pt idx="5">
                  <c:v>2.095429977545837E-2</c:v>
                </c:pt>
                <c:pt idx="6">
                  <c:v>8.9388941839401879E-4</c:v>
                </c:pt>
                <c:pt idx="7">
                  <c:v>1.8906914459362927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C$2:$C$9</c:f>
              <c:numCache>
                <c:formatCode>General</c:formatCode>
                <c:ptCount val="8"/>
                <c:pt idx="0">
                  <c:v>0.60806794055201707</c:v>
                </c:pt>
                <c:pt idx="1">
                  <c:v>0.18174097664543523</c:v>
                </c:pt>
                <c:pt idx="2">
                  <c:v>7.8131634819532919E-2</c:v>
                </c:pt>
                <c:pt idx="3">
                  <c:v>6.6242038216560523E-2</c:v>
                </c:pt>
                <c:pt idx="4">
                  <c:v>2.7600849256900217E-2</c:v>
                </c:pt>
                <c:pt idx="5">
                  <c:v>3.2696390658174104E-2</c:v>
                </c:pt>
                <c:pt idx="6">
                  <c:v>5.520169851380043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D$2:$D$9</c:f>
              <c:numCache>
                <c:formatCode>General</c:formatCode>
                <c:ptCount val="8"/>
                <c:pt idx="0">
                  <c:v>0.94315141706806438</c:v>
                </c:pt>
                <c:pt idx="1">
                  <c:v>0.88785115317573904</c:v>
                </c:pt>
                <c:pt idx="2">
                  <c:v>1.5028894313924206</c:v>
                </c:pt>
                <c:pt idx="3">
                  <c:v>1.4720964595514532</c:v>
                </c:pt>
                <c:pt idx="4">
                  <c:v>0.86986710982940341</c:v>
                </c:pt>
                <c:pt idx="5">
                  <c:v>1.5603666554617133</c:v>
                </c:pt>
                <c:pt idx="6">
                  <c:v>6.175450495093342</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F060CA7-CA26-4EEE-86F5-6F2006BD6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7351CF6F-EAA6-45DA-A39E-BBF4D9E5D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EE59893-0549-447A-99E5-0001A6D38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76CDC7A-4345-472C-801F-2628096D2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766EAD3-0BC6-434D-A184-ED18478B9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C0DF371-AAFF-4AED-B768-06BEABAE7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0350B34-1B88-4497-8B50-32DD3A99B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26568.493506493509</c:v>
                </c:pt>
              </c:numCache>
            </c:numRef>
          </c:yVal>
          <c:bubbleSize>
            <c:numRef>
              <c:f>Sheet1!$C$2:$C$2</c:f>
              <c:numCache>
                <c:formatCode>General</c:formatCode>
                <c:ptCount val="1"/>
                <c:pt idx="0">
                  <c:v>1046552.1158</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B4B1536-F700-409B-80A9-C693D26EC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F1B19E1D-BBB1-4B4F-A915-969D36E33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8EFD69D-BF97-4A7B-96A4-47E074F90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7B72F69-F374-4517-A56F-075A3A510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196CDDF-05CC-4CD1-A8DD-8E0D0D20D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A794A78-0B0C-4AA7-B518-5A337C0FE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975FCBB-F5C6-4485-916F-2ACB0BDE6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6659999999999998</c:v>
                </c:pt>
              </c:numCache>
            </c:numRef>
          </c:xVal>
          <c:yVal>
            <c:numRef>
              <c:f>Sheet1!$B$2:$B$2</c:f>
              <c:numCache>
                <c:formatCode>General</c:formatCode>
                <c:ptCount val="1"/>
                <c:pt idx="0">
                  <c:v>6680.8461538461543</c:v>
                </c:pt>
              </c:numCache>
            </c:numRef>
          </c:yVal>
          <c:bubbleSize>
            <c:numRef>
              <c:f>Sheet1!$C$2:$C$2</c:f>
              <c:numCache>
                <c:formatCode>General</c:formatCode>
                <c:ptCount val="1"/>
                <c:pt idx="0">
                  <c:v>55007.155300000013</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0B3B412-B625-4B3F-B4E8-80343FBB8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F3D4D5C-15CC-484C-944B-4CE7DB3AB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33E0A62-3147-44B0-8ED0-893114ED1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A9E0CA2-B2D3-41A4-B737-6D8FD7341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24F294F-86C6-4620-8C88-BAFF8A713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80A517A-FB4E-4892-95A6-07B4728C6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4997E7C-FC21-4BD1-B309-F2071FCDB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67210000000000003</c:v>
                </c:pt>
                <c:pt idx="1">
                  <c:v>0.32100000000000001</c:v>
                </c:pt>
                <c:pt idx="2">
                  <c:v>0.2203</c:v>
                </c:pt>
                <c:pt idx="3">
                  <c:v>0.28089999999999998</c:v>
                </c:pt>
              </c:numCache>
            </c:numRef>
          </c:xVal>
          <c:yVal>
            <c:numRef>
              <c:f>Sheet1!$B$2:$B$5</c:f>
              <c:numCache>
                <c:formatCode>General</c:formatCode>
                <c:ptCount val="4"/>
                <c:pt idx="0">
                  <c:v>5644</c:v>
                </c:pt>
                <c:pt idx="1">
                  <c:v>68443.006369426745</c:v>
                </c:pt>
                <c:pt idx="2">
                  <c:v>75992.745535714275</c:v>
                </c:pt>
                <c:pt idx="3">
                  <c:v>21986.73913043478</c:v>
                </c:pt>
              </c:numCache>
            </c:numRef>
          </c:yVal>
          <c:bubbleSize>
            <c:numRef>
              <c:f>Sheet1!$C$2:$C$5</c:f>
              <c:numCache>
                <c:formatCode>General</c:formatCode>
                <c:ptCount val="4"/>
                <c:pt idx="0">
                  <c:v>8139.9551999999994</c:v>
                </c:pt>
                <c:pt idx="1">
                  <c:v>3648181.7445999999</c:v>
                </c:pt>
                <c:pt idx="2">
                  <c:v>2654418.0469</c:v>
                </c:pt>
                <c:pt idx="3">
                  <c:v>72733.44779999998</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4CT</c:v>
                  </c:pt>
                  <c:pt idx="1">
                    <c:v>HYDRO 5 SENSITIVE 5 BLADE REFILL SENSITIVE 6CT</c:v>
                  </c:pt>
                  <c:pt idx="2">
                    <c:v>HYDRO 5 SENSITIVE 5 BLADE REFILL SENSITIVE 12CT</c:v>
                  </c:pt>
                  <c:pt idx="3">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E3A915D-840F-4270-BC38-A6FB1F301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037C9D0-32E2-4748-9736-84893BD0E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2EEDD9-5425-48D2-9B62-0980CF90A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FFDB798-2E44-44F6-B545-ABBC42FF2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9DCF2DD-9BAD-4BD4-85A8-139F99139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8F88FB8-393A-4953-A65E-93EA98D15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82585C4-4A5D-402D-B72D-3BD23EE22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7</c:v>
                </c:pt>
                <c:pt idx="1">
                  <c:v>0.43</c:v>
                </c:pt>
                <c:pt idx="2">
                  <c:v>0.40289999999999998</c:v>
                </c:pt>
              </c:numCache>
            </c:numRef>
          </c:xVal>
          <c:yVal>
            <c:numRef>
              <c:f>Sheet1!$B$2:$B$4</c:f>
              <c:numCache>
                <c:formatCode>General</c:formatCode>
                <c:ptCount val="3"/>
                <c:pt idx="0">
                  <c:v>10233.43976777939</c:v>
                </c:pt>
                <c:pt idx="1">
                  <c:v>54222.520710059172</c:v>
                </c:pt>
                <c:pt idx="2">
                  <c:v>38536.181506849323</c:v>
                </c:pt>
              </c:numCache>
            </c:numRef>
          </c:yVal>
          <c:bubbleSize>
            <c:numRef>
              <c:f>Sheet1!$C$2:$C$4</c:f>
              <c:numCache>
                <c:formatCode>General</c:formatCode>
                <c:ptCount val="3"/>
                <c:pt idx="0">
                  <c:v>423999.08850000001</c:v>
                </c:pt>
                <c:pt idx="1">
                  <c:v>2611438.9336000001</c:v>
                </c:pt>
                <c:pt idx="2">
                  <c:v>1343734.6551000001</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6332E72-A9D3-4D5D-B891-B4C6CFCEA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2C4DCBC1-58F2-4EEE-9DAB-8D3F8FD65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86C1451-3EC9-47CB-9482-3571965B5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79A80CE-F004-4F49-BD2B-D4ACC64AE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D33C41A-C478-4100-8323-C4DE0299A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D574B13-E5FF-47E3-9A16-5802C75ED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037965C-5925-441F-ABCF-4D42ED9F8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4560000000000002</c:v>
                </c:pt>
              </c:numCache>
            </c:numRef>
          </c:xVal>
          <c:yVal>
            <c:numRef>
              <c:f>Sheet1!$B$2:$B$2</c:f>
              <c:numCache>
                <c:formatCode>General</c:formatCode>
                <c:ptCount val="1"/>
                <c:pt idx="0">
                  <c:v>6750.3125</c:v>
                </c:pt>
              </c:numCache>
            </c:numRef>
          </c:yVal>
          <c:bubbleSize>
            <c:numRef>
              <c:f>Sheet1!$C$2:$C$2</c:f>
              <c:numCache>
                <c:formatCode>General</c:formatCode>
                <c:ptCount val="1"/>
                <c:pt idx="0">
                  <c:v>28272.369699999999</c:v>
                </c:pt>
              </c:numCache>
            </c:numRef>
          </c:bubbleSize>
          <c:bubble3D val="0"/>
          <c:extLst>
            <c:ext xmlns:c15="http://schemas.microsoft.com/office/drawing/2012/chart" uri="{02D57815-91ED-43cb-92C2-25804820EDAC}">
              <c15:datalabelsRange>
                <c15:f>Sheet1!$E$2:$E$50</c15:f>
                <c15:dlblRangeCache>
                  <c:ptCount val="49"/>
                  <c:pt idx="0">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959FE54-885B-4F44-98ED-17E2C8228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45E6609-8C26-4A52-A894-148AB93FC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E07E590-DA00-4F2D-AF19-E108448E3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70ED2F6-4A84-4657-9F0D-8FF4D37B2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AE71060-2A9F-44B4-9329-F48082528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223F7D7-E7FD-4C56-AE85-0485B7095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6E24EBD-820C-4EAD-9102-ABB254C50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2069999999999999</c:v>
                </c:pt>
                <c:pt idx="1">
                  <c:v>0.21940000000000001</c:v>
                </c:pt>
                <c:pt idx="2">
                  <c:v>0.20269999999999999</c:v>
                </c:pt>
              </c:numCache>
            </c:numRef>
          </c:xVal>
          <c:yVal>
            <c:numRef>
              <c:f>Sheet1!$B$2:$B$4</c:f>
              <c:numCache>
                <c:formatCode>General</c:formatCode>
                <c:ptCount val="3"/>
                <c:pt idx="0">
                  <c:v>4560.0253164556962</c:v>
                </c:pt>
                <c:pt idx="1">
                  <c:v>5275.4193548387093</c:v>
                </c:pt>
                <c:pt idx="2">
                  <c:v>1055.75</c:v>
                </c:pt>
              </c:numCache>
            </c:numRef>
          </c:yVal>
          <c:bubbleSize>
            <c:numRef>
              <c:f>Sheet1!$C$2:$C$4</c:f>
              <c:numCache>
                <c:formatCode>General</c:formatCode>
                <c:ptCount val="3"/>
                <c:pt idx="0">
                  <c:v>244698.5876</c:v>
                </c:pt>
                <c:pt idx="1">
                  <c:v>127660.91680000001</c:v>
                </c:pt>
                <c:pt idx="2">
                  <c:v>3367.1781000000001</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6CT</c:v>
                  </c:pt>
                  <c:pt idx="1">
                    <c:v>HYDRO 5 SENSITIVE 5 BLADE REFILL SENSITIVE 12CT</c:v>
                  </c:pt>
                  <c:pt idx="2">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6C111BE-3299-4D19-9738-70D71AEAD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49D9DF3-1D06-47FA-9E18-5273EE6A9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29BB4F4-D8E6-4F60-A46A-B77B23DEF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DA6C608-5222-418A-834C-D6AD08EAE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7C8A7E5-D928-4DB9-8FB3-C2AAB1339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D46F09A-5F46-4255-A9A7-853EC06C3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140E3EA-72C7-48FE-8484-26E02D58E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739999999999998</c:v>
                </c:pt>
                <c:pt idx="1">
                  <c:v>0.42920000000000003</c:v>
                </c:pt>
                <c:pt idx="2">
                  <c:v>0.39600000000000002</c:v>
                </c:pt>
              </c:numCache>
            </c:numRef>
          </c:xVal>
          <c:yVal>
            <c:numRef>
              <c:f>Sheet1!$B$2:$B$4</c:f>
              <c:numCache>
                <c:formatCode>General</c:formatCode>
                <c:ptCount val="3"/>
                <c:pt idx="0">
                  <c:v>745.05970149253733</c:v>
                </c:pt>
                <c:pt idx="1">
                  <c:v>3421.4096385542171</c:v>
                </c:pt>
                <c:pt idx="2">
                  <c:v>2624.6851851851852</c:v>
                </c:pt>
              </c:numCache>
            </c:numRef>
          </c:yVal>
          <c:bubbleSize>
            <c:numRef>
              <c:f>Sheet1!$C$2:$C$4</c:f>
              <c:numCache>
                <c:formatCode>General</c:formatCode>
                <c:ptCount val="3"/>
                <c:pt idx="0">
                  <c:v>30082.322400000001</c:v>
                </c:pt>
                <c:pt idx="1">
                  <c:v>162101.8536</c:v>
                </c:pt>
                <c:pt idx="2">
                  <c:v>85603.147899999982</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38C0DF6-6D79-437B-B0AF-573617FB6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4A76882-2A7D-43F2-828F-DD49A050F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56B4FC4C-0D64-4155-B61D-0D5A06D4F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66AAC1A-2D3E-42DF-ABC1-A2473B600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91AF5DB-E898-4D7B-81C8-5C83436F0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DF00463-1F2F-473A-866B-A236ACA45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FB6ADC3-157B-4ED1-94BE-BBDEB4F8A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91049999999999998</c:v>
                </c:pt>
                <c:pt idx="1">
                  <c:v>0.32050000000000001</c:v>
                </c:pt>
              </c:numCache>
            </c:numRef>
          </c:xVal>
          <c:yVal>
            <c:numRef>
              <c:f>Sheet1!$B$2:$B$3</c:f>
              <c:numCache>
                <c:formatCode>General</c:formatCode>
                <c:ptCount val="2"/>
                <c:pt idx="0">
                  <c:v>839</c:v>
                </c:pt>
                <c:pt idx="1">
                  <c:v>7307.5535714285706</c:v>
                </c:pt>
              </c:numCache>
            </c:numRef>
          </c:yVal>
          <c:bubbleSize>
            <c:numRef>
              <c:f>Sheet1!$C$2:$C$3</c:f>
              <c:numCache>
                <c:formatCode>General</c:formatCode>
                <c:ptCount val="2"/>
                <c:pt idx="0">
                  <c:v>1341.184</c:v>
                </c:pt>
                <c:pt idx="1">
                  <c:v>278077.10879999999</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4CT</c:v>
                  </c:pt>
                  <c:pt idx="1">
                    <c:v>HYDRO 5 SENSITIVE 5 BLADE REFILL SENSITIVE 6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B4E7860-50F6-49E3-9249-102762BB9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AAB89E9-12C7-42BC-A909-8C7873C1C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753B551-C88A-4C98-8EAE-DE95CF4D0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984B734-3B6D-4D95-B826-E12216E0E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2E9D799-72AD-43F7-BE53-A4D063DFF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C648E78-0D56-4CB8-9A3E-86389648D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C728FC8-8B50-4214-960C-94CAB845F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89999999999998</c:v>
                </c:pt>
                <c:pt idx="1">
                  <c:v>0.43030000000000002</c:v>
                </c:pt>
                <c:pt idx="2">
                  <c:v>0.35830000000000001</c:v>
                </c:pt>
              </c:numCache>
            </c:numRef>
          </c:xVal>
          <c:yVal>
            <c:numRef>
              <c:f>Sheet1!$B$2:$B$4</c:f>
              <c:numCache>
                <c:formatCode>General</c:formatCode>
                <c:ptCount val="3"/>
                <c:pt idx="0">
                  <c:v>1148.3170731707321</c:v>
                </c:pt>
                <c:pt idx="1">
                  <c:v>4936.0153846153844</c:v>
                </c:pt>
                <c:pt idx="2">
                  <c:v>3361.8</c:v>
                </c:pt>
              </c:numCache>
            </c:numRef>
          </c:yVal>
          <c:bubbleSize>
            <c:numRef>
              <c:f>Sheet1!$C$2:$C$4</c:f>
              <c:numCache>
                <c:formatCode>General</c:formatCode>
                <c:ptCount val="3"/>
                <c:pt idx="0">
                  <c:v>28301.748800000001</c:v>
                </c:pt>
                <c:pt idx="1">
                  <c:v>182797.47649999999</c:v>
                </c:pt>
                <c:pt idx="2">
                  <c:v>86297.400300000008</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A1C9B0C-8514-49E3-9A54-AE808F464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CFAB5B9-270C-4F3E-9D86-42EC21CEA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ED7780C-76B0-4EEF-824A-61A33A100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9519EB3-F2F3-47B2-BA40-D2916DB2D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8B4BBD9-5E72-4C64-8804-5D96DE9BB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DF12C66-3B72-4D24-9D5C-245FCB789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CA63AA3-C656-4E17-9821-3432F15DA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64170000000000005</c:v>
                </c:pt>
                <c:pt idx="1">
                  <c:v>0.3211</c:v>
                </c:pt>
                <c:pt idx="2">
                  <c:v>0.2205</c:v>
                </c:pt>
                <c:pt idx="3">
                  <c:v>0.2843</c:v>
                </c:pt>
              </c:numCache>
            </c:numRef>
          </c:xVal>
          <c:yVal>
            <c:numRef>
              <c:f>Sheet1!$B$2:$B$5</c:f>
              <c:numCache>
                <c:formatCode>General</c:formatCode>
                <c:ptCount val="4"/>
                <c:pt idx="0">
                  <c:v>4359</c:v>
                </c:pt>
                <c:pt idx="1">
                  <c:v>57541.387499999997</c:v>
                </c:pt>
                <c:pt idx="2">
                  <c:v>66122.918367346938</c:v>
                </c:pt>
                <c:pt idx="3">
                  <c:v>19381.2</c:v>
                </c:pt>
              </c:numCache>
            </c:numRef>
          </c:yVal>
          <c:bubbleSize>
            <c:numRef>
              <c:f>Sheet1!$C$2:$C$5</c:f>
              <c:numCache>
                <c:formatCode>General</c:formatCode>
                <c:ptCount val="4"/>
                <c:pt idx="0">
                  <c:v>6169.4463999999998</c:v>
                </c:pt>
                <c:pt idx="1">
                  <c:v>3125406.0482000001</c:v>
                </c:pt>
                <c:pt idx="2">
                  <c:v>2525616.0184999998</c:v>
                </c:pt>
                <c:pt idx="3">
                  <c:v>69360.267600000006</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4CT</c:v>
                  </c:pt>
                  <c:pt idx="1">
                    <c:v>HYDRO 5 SENSITIVE 5 BLADE REFILL SENSITIVE 6CT</c:v>
                  </c:pt>
                  <c:pt idx="2">
                    <c:v>HYDRO 5 SENSITIVE 5 BLADE REFILL SENSITIVE 12CT</c:v>
                  </c:pt>
                  <c:pt idx="3">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B$2:$B$9</c:f>
              <c:numCache>
                <c:formatCode>General</c:formatCode>
                <c:ptCount val="8"/>
                <c:pt idx="0">
                  <c:v>0.61709939318599438</c:v>
                </c:pt>
                <c:pt idx="1">
                  <c:v>0.24341488493153948</c:v>
                </c:pt>
                <c:pt idx="2">
                  <c:v>4.6230713935869937E-2</c:v>
                </c:pt>
                <c:pt idx="3">
                  <c:v>4.0291297693214836E-2</c:v>
                </c:pt>
                <c:pt idx="4">
                  <c:v>3.9220718455250554E-2</c:v>
                </c:pt>
                <c:pt idx="5">
                  <c:v>1.3513482367956495E-2</c:v>
                </c:pt>
                <c:pt idx="6">
                  <c:v>2.2476461899605861E-4</c:v>
                </c:pt>
                <c:pt idx="7">
                  <c:v>4.7448111782881686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C$2:$C$9</c:f>
              <c:numCache>
                <c:formatCode>General</c:formatCode>
                <c:ptCount val="8"/>
                <c:pt idx="0">
                  <c:v>0.55600461893764441</c:v>
                </c:pt>
                <c:pt idx="1">
                  <c:v>0.14124501364686123</c:v>
                </c:pt>
                <c:pt idx="2">
                  <c:v>6.7656938904052083E-2</c:v>
                </c:pt>
                <c:pt idx="3">
                  <c:v>7.4742809153894613E-2</c:v>
                </c:pt>
                <c:pt idx="4">
                  <c:v>0.11116943103086292</c:v>
                </c:pt>
                <c:pt idx="5">
                  <c:v>4.5821960948981742E-2</c:v>
                </c:pt>
                <c:pt idx="6">
                  <c:v>3.359227377703129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D$2:$D$9</c:f>
              <c:numCache>
                <c:formatCode>General</c:formatCode>
                <c:ptCount val="8"/>
                <c:pt idx="0">
                  <c:v>0.90099686545966839</c:v>
                </c:pt>
                <c:pt idx="1">
                  <c:v>0.58026448828955735</c:v>
                </c:pt>
                <c:pt idx="2">
                  <c:v>1.4634629912465564</c:v>
                </c:pt>
                <c:pt idx="3">
                  <c:v>1.855060855150404</c:v>
                </c:pt>
                <c:pt idx="4">
                  <c:v>2.8344567720681426</c:v>
                </c:pt>
                <c:pt idx="5">
                  <c:v>3.3908329253187848</c:v>
                </c:pt>
                <c:pt idx="6">
                  <c:v>14.94553454501678</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B4B0FC5-D3CF-4004-8363-D0BDD5CBD5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76BE2B0-5BEE-4714-AF46-14490C8DF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0F131A1-C4E2-4490-AFFA-7F67FB40A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5BEF00F-77E4-41FD-A80C-96B08DD07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FFF4348-A47E-4D15-8AE1-EC93A6CE6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1A9E8A9-C607-4DC1-906A-553B7E8FA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7E6FD30-861C-4225-A5E7-2DFE0F049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7</c:v>
                </c:pt>
                <c:pt idx="1">
                  <c:v>0.43009999999999998</c:v>
                </c:pt>
                <c:pt idx="2">
                  <c:v>0.40649999999999997</c:v>
                </c:pt>
              </c:numCache>
            </c:numRef>
          </c:xVal>
          <c:yVal>
            <c:numRef>
              <c:f>Sheet1!$B$2:$B$4</c:f>
              <c:numCache>
                <c:formatCode>General</c:formatCode>
                <c:ptCount val="3"/>
                <c:pt idx="0">
                  <c:v>8564.5633802816901</c:v>
                </c:pt>
                <c:pt idx="1">
                  <c:v>46244.011627906977</c:v>
                </c:pt>
                <c:pt idx="2">
                  <c:v>32905.133333333331</c:v>
                </c:pt>
              </c:numCache>
            </c:numRef>
          </c:yVal>
          <c:bubbleSize>
            <c:numRef>
              <c:f>Sheet1!$C$2:$C$4</c:f>
              <c:numCache>
                <c:formatCode>General</c:formatCode>
                <c:ptCount val="3"/>
                <c:pt idx="0">
                  <c:v>365615.01729999989</c:v>
                </c:pt>
                <c:pt idx="1">
                  <c:v>2266539.6035000002</c:v>
                </c:pt>
                <c:pt idx="2">
                  <c:v>1171834.1069</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6924E39-1D3C-47A9-875A-1766860FF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0922946C-241F-46FB-8C8F-12EADE2A2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336931F9-AD4D-4492-9C7E-0759FCCDB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50B8C7B-05B6-4459-9AF2-B36773416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EDDA95E-68C5-4B9C-922A-9AFD6B509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74D3F17-539A-4E5F-8FA6-874868393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E89685C-CB34-468B-AF50-693FE02EC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4639999999999999</c:v>
                </c:pt>
              </c:numCache>
            </c:numRef>
          </c:xVal>
          <c:yVal>
            <c:numRef>
              <c:f>Sheet1!$B$2:$B$2</c:f>
              <c:numCache>
                <c:formatCode>General</c:formatCode>
                <c:ptCount val="1"/>
                <c:pt idx="0">
                  <c:v>5990.2857142857138</c:v>
                </c:pt>
              </c:numCache>
            </c:numRef>
          </c:yVal>
          <c:bubbleSize>
            <c:numRef>
              <c:f>Sheet1!$C$2:$C$2</c:f>
              <c:numCache>
                <c:formatCode>General</c:formatCode>
                <c:ptCount val="1"/>
                <c:pt idx="0">
                  <c:v>27404.931199999999</c:v>
                </c:pt>
              </c:numCache>
            </c:numRef>
          </c:bubbleSize>
          <c:bubble3D val="0"/>
          <c:extLst>
            <c:ext xmlns:c15="http://schemas.microsoft.com/office/drawing/2012/chart" uri="{02D57815-91ED-43cb-92C2-25804820EDAC}">
              <c15:datalabelsRange>
                <c15:f>Sheet1!$E$2:$E$50</c15:f>
                <c15:dlblRangeCache>
                  <c:ptCount val="49"/>
                  <c:pt idx="0">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DF8AB2C-D6CC-4DF3-81E2-58D862EE34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B50894B-2422-450E-9533-79FC5E86F6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3EFEB17-8C38-4A1A-9B5D-809B279B7B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07CE4AA-CF4D-47C7-8315-E9059A024B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1712671-03CA-4056-BA78-1108500AE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83E6EB3-F940-4CFE-BFA4-0A97A87E65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7EC7A90-9BAE-41D6-BF77-ECCD22C1AE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59A7653-C923-469D-82E1-59776B4801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F8BB854-73F6-4914-84B5-12399F6C7C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4FD6CD7-A733-42A6-AF45-1B88FD528D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79300000000000004</c:v>
                </c:pt>
                <c:pt idx="1">
                  <c:v>0.75900000000000001</c:v>
                </c:pt>
                <c:pt idx="2">
                  <c:v>0.01</c:v>
                </c:pt>
                <c:pt idx="3">
                  <c:v>0.78500000000000003</c:v>
                </c:pt>
                <c:pt idx="4">
                  <c:v>0.89600000000000002</c:v>
                </c:pt>
                <c:pt idx="5">
                  <c:v>0.85199999999999998</c:v>
                </c:pt>
                <c:pt idx="6">
                  <c:v>0.93899999999999995</c:v>
                </c:pt>
                <c:pt idx="7">
                  <c:v>0.70099999999999996</c:v>
                </c:pt>
                <c:pt idx="8">
                  <c:v>0.63400000000000001</c:v>
                </c:pt>
                <c:pt idx="9">
                  <c:v>0.44800000000000001</c:v>
                </c:pt>
                <c:pt idx="10">
                  <c:v>0.95</c:v>
                </c:pt>
                <c:pt idx="11">
                  <c:v>5.6000000000000001E-2</c:v>
                </c:pt>
                <c:pt idx="12">
                  <c:v>0.84399999999999997</c:v>
                </c:pt>
                <c:pt idx="13">
                  <c:v>4.5999999999999999E-2</c:v>
                </c:pt>
                <c:pt idx="14">
                  <c:v>0.85699999999999998</c:v>
                </c:pt>
              </c:numCache>
            </c:numRef>
          </c:xVal>
          <c:yVal>
            <c:numRef>
              <c:f>Sheet1!$B$2:$B$16</c:f>
              <c:numCache>
                <c:formatCode>General</c:formatCode>
                <c:ptCount val="15"/>
                <c:pt idx="0">
                  <c:v>17181.197982345519</c:v>
                </c:pt>
                <c:pt idx="1">
                  <c:v>14944.044795783921</c:v>
                </c:pt>
                <c:pt idx="2">
                  <c:v>5644</c:v>
                </c:pt>
                <c:pt idx="3">
                  <c:v>68443.006369426745</c:v>
                </c:pt>
                <c:pt idx="4">
                  <c:v>6009.7767857142853</c:v>
                </c:pt>
                <c:pt idx="5">
                  <c:v>48994.894366197179</c:v>
                </c:pt>
                <c:pt idx="6">
                  <c:v>52579.062832800853</c:v>
                </c:pt>
                <c:pt idx="7">
                  <c:v>42879.101283880183</c:v>
                </c:pt>
                <c:pt idx="8">
                  <c:v>7261.4353312302837</c:v>
                </c:pt>
                <c:pt idx="9">
                  <c:v>75992.745535714275</c:v>
                </c:pt>
                <c:pt idx="10">
                  <c:v>42642.536842105263</c:v>
                </c:pt>
                <c:pt idx="11">
                  <c:v>21416.964285714279</c:v>
                </c:pt>
                <c:pt idx="12">
                  <c:v>6803.5545023696686</c:v>
                </c:pt>
                <c:pt idx="13">
                  <c:v>21986.73913043478</c:v>
                </c:pt>
                <c:pt idx="14">
                  <c:v>51342.777129521593</c:v>
                </c:pt>
              </c:numCache>
            </c:numRef>
          </c:yVal>
          <c:bubbleSize>
            <c:numRef>
              <c:f>Sheet1!$C$2:$C$16</c:f>
              <c:numCache>
                <c:formatCode>General</c:formatCode>
                <c:ptCount val="15"/>
                <c:pt idx="0">
                  <c:v>1058631.9765999999</c:v>
                </c:pt>
                <c:pt idx="1">
                  <c:v>838701.68579999998</c:v>
                </c:pt>
                <c:pt idx="2">
                  <c:v>8139.9551999999994</c:v>
                </c:pt>
                <c:pt idx="3">
                  <c:v>3648181.7445999999</c:v>
                </c:pt>
                <c:pt idx="4">
                  <c:v>350237.70730000013</c:v>
                </c:pt>
                <c:pt idx="5">
                  <c:v>2538781.9904</c:v>
                </c:pt>
                <c:pt idx="6">
                  <c:v>3200726.89</c:v>
                </c:pt>
                <c:pt idx="7">
                  <c:v>1920827.2086</c:v>
                </c:pt>
                <c:pt idx="8">
                  <c:v>301018.2378</c:v>
                </c:pt>
                <c:pt idx="9">
                  <c:v>2654418.0469</c:v>
                </c:pt>
                <c:pt idx="10">
                  <c:v>2551270.2801999999</c:v>
                </c:pt>
                <c:pt idx="11">
                  <c:v>75862.37519999998</c:v>
                </c:pt>
                <c:pt idx="12">
                  <c:v>390839.13900000002</c:v>
                </c:pt>
                <c:pt idx="13">
                  <c:v>72733.44779999998</c:v>
                </c:pt>
                <c:pt idx="14">
                  <c:v>3101731.2096000011</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SCHICK XTREME 3 SENSITIVE GREEN HOLIDAY GIFT PACK 3 BLADE DISPOSABLE SENSITIVE 8CT</c:v>
                  </c:pt>
                  <c:pt idx="2">
                    <c:v>HYDRO 5 SENSITIVE 5 BLADE REFILL SENSITIVE 4CT</c:v>
                  </c:pt>
                  <c:pt idx="3">
                    <c:v>HYDRO 5 SENSITIVE 5 BLADE REFILL SENSITIVE 6CT</c:v>
                  </c:pt>
                  <c:pt idx="4">
                    <c:v>SCHICK XTREME 3 SENSITIVE GREEN BLACK 3 BLADE DISPOSABLE SENSITIVE 4CT</c:v>
                  </c:pt>
                  <c:pt idx="5">
                    <c:v>HYDRO 5 SENSITIVE 5 BLADE RAZOR SENSITIVE 3CT</c:v>
                  </c:pt>
                  <c:pt idx="6">
                    <c:v>SCHICK XTREME 2 SENSITIVE 2 BLADE DISPOSABLE NORMAL 12CT</c:v>
                  </c:pt>
                  <c:pt idx="7">
                    <c:v>SCHICK XTREME 3 SENSITIVE BLACK GREEN 3 BLADE DISPOSABLE SENSITIVE 12CT</c:v>
                  </c:pt>
                  <c:pt idx="8">
                    <c:v>SCHICK XTREME 3 SENSITIVE GREEN BLACK 3 BLADE DISPOSABLE SENSITIVE 12CT</c:v>
                  </c:pt>
                  <c:pt idx="9">
                    <c:v>HYDRO 5 SENSITIVE 5 BLADE REFILL SENSITIVE 12CT</c:v>
                  </c:pt>
                  <c:pt idx="10">
                    <c:v>SCHICK XTREME 3 SENSITIVE BLACK 3 BLADE DISPOSABLE SENSITIVE 4CT</c:v>
                  </c:pt>
                  <c:pt idx="11">
                    <c:v>SCHICK HYDRO 3 SENSITIVE 3 BLADE RAZOR SENSITIVE 4CT</c:v>
                  </c:pt>
                  <c:pt idx="12">
                    <c:v>SCHICK XTREME 3 SENSITIVE GREEN BLACK 3 BLADE DISPOSABLE SENSITIVE 8CT</c:v>
                  </c:pt>
                  <c:pt idx="13">
                    <c:v>SCHICK HYDRO 3 SENSITIVE 3 BLADE REFILL SENSITIVE 5CT</c:v>
                  </c:pt>
                  <c:pt idx="14">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07742FC-99DA-459A-A8C9-A1DD9CB8C8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CD466C6-DC25-44AC-B3FE-453BD6EA1C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3E67284-DA8E-4688-B061-E59F253239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5E3E7F2-9ED9-4E9B-840A-7D1DCEF1B77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2F4FD0B-B2A9-4B49-AF6C-5489D6C26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0BB972D-9C51-406A-929A-30EBB809AB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9059685-4EEF-4035-90F2-1FAB1C1D7F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A06F2BA-600A-485A-829C-078F1ECC13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1F3C256-F5BE-43D4-81A0-4FC3D272BF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DB71025-C982-44E7-A3E9-9576B0FFEF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3799999999999994</c:v>
                </c:pt>
                <c:pt idx="1">
                  <c:v>0.68899999999999995</c:v>
                </c:pt>
                <c:pt idx="2">
                  <c:v>0.98499999999999999</c:v>
                </c:pt>
                <c:pt idx="3">
                  <c:v>0.751</c:v>
                </c:pt>
                <c:pt idx="4">
                  <c:v>0.84499999999999997</c:v>
                </c:pt>
                <c:pt idx="5">
                  <c:v>0.58399999999999996</c:v>
                </c:pt>
                <c:pt idx="6">
                  <c:v>0.95899999999999996</c:v>
                </c:pt>
                <c:pt idx="7">
                  <c:v>0.91100000000000003</c:v>
                </c:pt>
                <c:pt idx="8">
                  <c:v>0.97799999999999998</c:v>
                </c:pt>
                <c:pt idx="9">
                  <c:v>0.98799999999999999</c:v>
                </c:pt>
              </c:numCache>
            </c:numRef>
          </c:xVal>
          <c:yVal>
            <c:numRef>
              <c:f>Sheet1!$B$2:$B$11</c:f>
              <c:numCache>
                <c:formatCode>General</c:formatCode>
                <c:ptCount val="10"/>
                <c:pt idx="0">
                  <c:v>34693.635394456287</c:v>
                </c:pt>
                <c:pt idx="1">
                  <c:v>10233.43976777939</c:v>
                </c:pt>
                <c:pt idx="2">
                  <c:v>88856.375634517768</c:v>
                </c:pt>
                <c:pt idx="3">
                  <c:v>31615.11318242344</c:v>
                </c:pt>
                <c:pt idx="4">
                  <c:v>54222.520710059172</c:v>
                </c:pt>
                <c:pt idx="5">
                  <c:v>38536.181506849323</c:v>
                </c:pt>
                <c:pt idx="6">
                  <c:v>37190.417101147032</c:v>
                </c:pt>
                <c:pt idx="7">
                  <c:v>39700.241492864981</c:v>
                </c:pt>
                <c:pt idx="8">
                  <c:v>17923.486707566459</c:v>
                </c:pt>
                <c:pt idx="9">
                  <c:v>38983.218623481793</c:v>
                </c:pt>
              </c:numCache>
            </c:numRef>
          </c:yVal>
          <c:bubbleSize>
            <c:numRef>
              <c:f>Sheet1!$C$2:$C$11</c:f>
              <c:numCache>
                <c:formatCode>General</c:formatCode>
                <c:ptCount val="10"/>
                <c:pt idx="0">
                  <c:v>1798622.3696000001</c:v>
                </c:pt>
                <c:pt idx="1">
                  <c:v>423999.08850000001</c:v>
                </c:pt>
                <c:pt idx="2">
                  <c:v>4518773.5040000007</c:v>
                </c:pt>
                <c:pt idx="3">
                  <c:v>1214691.3791</c:v>
                </c:pt>
                <c:pt idx="4">
                  <c:v>2611438.9336000001</c:v>
                </c:pt>
                <c:pt idx="5">
                  <c:v>1343734.6551000001</c:v>
                </c:pt>
                <c:pt idx="6">
                  <c:v>1614221.3448999999</c:v>
                </c:pt>
                <c:pt idx="7">
                  <c:v>1997336.7135999999</c:v>
                </c:pt>
                <c:pt idx="8">
                  <c:v>1228819.4014000001</c:v>
                </c:pt>
                <c:pt idx="9">
                  <c:v>2298580.1269999999</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54645F0-EDD6-4BAA-B9AA-9C482614BD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DDD4966-0873-4B2B-B8B2-3C27B6AD9E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EF7B323-7E1F-4964-BC54-32AD45FD07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1D234C8-14B9-40A7-B4B4-4071123F46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967CAE2-65C0-4494-9A30-2D1E77BCF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F7663E9-7DC2-408D-8C1A-02B6E85070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B2419DE-A2BD-4EFA-82E5-B63C12AF90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D2C3D2F-1B54-43F4-AEAB-E950F165D22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EBA0442-1CC6-4C4F-9EC7-B22AB7E748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C92817E-8B5F-44AD-AAB3-12738B0B21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1700000000000001</c:v>
                </c:pt>
                <c:pt idx="1">
                  <c:v>6.4000000000000001E-2</c:v>
                </c:pt>
              </c:numCache>
            </c:numRef>
          </c:xVal>
          <c:yVal>
            <c:numRef>
              <c:f>Sheet1!$B$2:$B$3</c:f>
              <c:numCache>
                <c:formatCode>General</c:formatCode>
                <c:ptCount val="2"/>
                <c:pt idx="0">
                  <c:v>7625.1282051282042</c:v>
                </c:pt>
                <c:pt idx="1">
                  <c:v>6750.3125</c:v>
                </c:pt>
              </c:numCache>
            </c:numRef>
          </c:yVal>
          <c:bubbleSize>
            <c:numRef>
              <c:f>Sheet1!$C$2:$C$3</c:f>
              <c:numCache>
                <c:formatCode>General</c:formatCode>
                <c:ptCount val="2"/>
                <c:pt idx="0">
                  <c:v>56493.237800000003</c:v>
                </c:pt>
                <c:pt idx="1">
                  <c:v>28272.369699999999</c:v>
                </c:pt>
              </c:numCache>
            </c:numRef>
          </c:bubbleSize>
          <c:bubble3D val="0"/>
          <c:extLst>
            <c:ext xmlns:c15="http://schemas.microsoft.com/office/drawing/2012/chart" uri="{02D57815-91ED-43cb-92C2-25804820EDAC}">
              <c15:datalabelsRange>
                <c15:f>Sheet1!$E$2:$E$21</c15:f>
                <c15:dlblRangeCache>
                  <c:ptCount val="20"/>
                  <c:pt idx="0">
                    <c:v>CREMO 5 BLADE RAZOR NORMAL 2CT</c:v>
                  </c:pt>
                  <c:pt idx="1">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5C4B8AA-BB00-4D88-B5E1-F70D5A1A2A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8E8B6D5-BB85-49D5-8427-F548232845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C7D834A-5C57-4DAB-AA8A-4C0243157E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B8AF95A-B3AA-4E59-8866-036F4AA4AD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7AA14D5-E6F0-4E94-A83C-23B461630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618C3DA-8FD9-4350-A18D-95C1721318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4B421B0-DE50-4FF7-878B-686C3E76F2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AB2BA2E-8139-4ECA-96F8-5A3FD26E1F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E22F3F9-0876-4663-8342-6A0D1A6271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7F87FF0-6522-41CD-B162-F49CFBF153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04</c:v>
                </c:pt>
                <c:pt idx="1">
                  <c:v>0.04</c:v>
                </c:pt>
                <c:pt idx="2">
                  <c:v>0.79</c:v>
                </c:pt>
                <c:pt idx="3">
                  <c:v>0.88</c:v>
                </c:pt>
                <c:pt idx="4">
                  <c:v>0.83</c:v>
                </c:pt>
                <c:pt idx="5">
                  <c:v>0.94</c:v>
                </c:pt>
                <c:pt idx="6">
                  <c:v>0.68</c:v>
                </c:pt>
                <c:pt idx="7">
                  <c:v>0.64</c:v>
                </c:pt>
                <c:pt idx="8">
                  <c:v>0.31</c:v>
                </c:pt>
                <c:pt idx="9">
                  <c:v>0.95</c:v>
                </c:pt>
                <c:pt idx="10">
                  <c:v>0.05</c:v>
                </c:pt>
                <c:pt idx="11">
                  <c:v>0.84</c:v>
                </c:pt>
                <c:pt idx="12">
                  <c:v>0.04</c:v>
                </c:pt>
                <c:pt idx="13">
                  <c:v>0.87</c:v>
                </c:pt>
              </c:numCache>
            </c:numRef>
          </c:xVal>
          <c:yVal>
            <c:numRef>
              <c:f>Sheet1!$B$2:$B$15</c:f>
              <c:numCache>
                <c:formatCode>General</c:formatCode>
                <c:ptCount val="14"/>
                <c:pt idx="0">
                  <c:v>1094.75</c:v>
                </c:pt>
                <c:pt idx="1">
                  <c:v>874</c:v>
                </c:pt>
                <c:pt idx="2">
                  <c:v>4560.0253164556962</c:v>
                </c:pt>
                <c:pt idx="3">
                  <c:v>413.27272727272731</c:v>
                </c:pt>
                <c:pt idx="4">
                  <c:v>3435.0481927710839</c:v>
                </c:pt>
                <c:pt idx="5">
                  <c:v>4372</c:v>
                </c:pt>
                <c:pt idx="6">
                  <c:v>3373.205882352941</c:v>
                </c:pt>
                <c:pt idx="7">
                  <c:v>574.65625</c:v>
                </c:pt>
                <c:pt idx="8">
                  <c:v>5275.4193548387093</c:v>
                </c:pt>
                <c:pt idx="9">
                  <c:v>3032.8736842105259</c:v>
                </c:pt>
                <c:pt idx="10">
                  <c:v>999.2</c:v>
                </c:pt>
                <c:pt idx="11">
                  <c:v>506.07142857142861</c:v>
                </c:pt>
                <c:pt idx="12">
                  <c:v>1055.75</c:v>
                </c:pt>
                <c:pt idx="13">
                  <c:v>3945.977011494253</c:v>
                </c:pt>
              </c:numCache>
            </c:numRef>
          </c:yVal>
          <c:bubbleSize>
            <c:numRef>
              <c:f>Sheet1!$C$2:$C$15</c:f>
              <c:numCache>
                <c:formatCode>General</c:formatCode>
                <c:ptCount val="14"/>
                <c:pt idx="0">
                  <c:v>3101.6833000000001</c:v>
                </c:pt>
                <c:pt idx="1">
                  <c:v>2412.9196000000002</c:v>
                </c:pt>
                <c:pt idx="2">
                  <c:v>244698.5876</c:v>
                </c:pt>
                <c:pt idx="3">
                  <c:v>23392.570500000002</c:v>
                </c:pt>
                <c:pt idx="4">
                  <c:v>173389.4657</c:v>
                </c:pt>
                <c:pt idx="5">
                  <c:v>263862.60159999999</c:v>
                </c:pt>
                <c:pt idx="6">
                  <c:v>144963.85519999999</c:v>
                </c:pt>
                <c:pt idx="7">
                  <c:v>23760.718799999999</c:v>
                </c:pt>
                <c:pt idx="8">
                  <c:v>127660.91680000001</c:v>
                </c:pt>
                <c:pt idx="9">
                  <c:v>180016.2997</c:v>
                </c:pt>
                <c:pt idx="10">
                  <c:v>3205.0187999999998</c:v>
                </c:pt>
                <c:pt idx="11">
                  <c:v>28611.328399999999</c:v>
                </c:pt>
                <c:pt idx="12">
                  <c:v>3367.1781000000001</c:v>
                </c:pt>
                <c:pt idx="13">
                  <c:v>239980.5024</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SCHICK XTREME 3 SENSITIVE GREEN HOLIDAY GIFT PACK 3 BLADE DISPOSABLE SENSITIVE 8CT</c:v>
                  </c:pt>
                  <c:pt idx="2">
                    <c:v>HYDRO 5 SENSITIVE 5 BLADE REFILL SENSITIVE 6CT</c:v>
                  </c:pt>
                  <c:pt idx="3">
                    <c:v>SCHICK XTREME 3 SENSITIVE GREEN BLACK 3 BLADE DISPOSABLE SENSITIVE 4CT</c:v>
                  </c:pt>
                  <c:pt idx="4">
                    <c:v>HYDRO 5 SENSITIVE 5 BLADE RAZOR SENSITIVE 3CT</c:v>
                  </c:pt>
                  <c:pt idx="5">
                    <c:v>SCHICK XTREME 2 SENSITIVE 2 BLADE DISPOSABLE NORMAL 12CT</c:v>
                  </c:pt>
                  <c:pt idx="6">
                    <c:v>SCHICK XTREME 3 SENSITIVE BLACK GREEN 3 BLADE DISPOSABLE SENSITIVE 12CT</c:v>
                  </c:pt>
                  <c:pt idx="7">
                    <c:v>SCHICK XTREME 3 SENSITIVE GREEN BLACK 3 BLADE DISPOSABLE SENSITIVE 12CT</c:v>
                  </c:pt>
                  <c:pt idx="8">
                    <c:v>HYDRO 5 SENSITIVE 5 BLADE REFILL SENSITIVE 12CT</c:v>
                  </c:pt>
                  <c:pt idx="9">
                    <c:v>SCHICK XTREME 3 SENSITIVE BLACK 3 BLADE DISPOSABLE SENSITIVE 4CT</c:v>
                  </c:pt>
                  <c:pt idx="10">
                    <c:v>SCHICK HYDRO 3 SENSITIVE 3 BLADE RAZOR SENSITIVE 4CT</c:v>
                  </c:pt>
                  <c:pt idx="11">
                    <c:v>SCHICK XTREME 3 SENSITIVE GREEN BLACK 3 BLADE DISPOSABLE SENSITIVE 8CT</c:v>
                  </c:pt>
                  <c:pt idx="12">
                    <c:v>SCHICK HYDRO 3 SENSITIVE 3 BLADE REFILL SENSITIVE 5CT</c:v>
                  </c:pt>
                  <c:pt idx="13">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5D3A9FF-0646-4F17-85F3-977C87CF85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96052A1-0DB2-4EC8-A5AA-944BD349E4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2561D60-109F-4B7E-9BFE-05516C585B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44975D3-803F-432F-85F2-ED7005B275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ED2F900-4FC7-46DB-BABB-EAFC41F69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7379FD1-1CA2-47D2-9868-3C8B960D27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68997C4-E539-4E6E-8AF0-6113327D89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6F306F3-EBB1-4DFB-9B51-C3568E119B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17E1C1E-7DA7-4109-A869-2B363B6A2A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25554F0-B18D-4451-9151-9F6F89CEB8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5</c:v>
                </c:pt>
                <c:pt idx="1">
                  <c:v>0.67</c:v>
                </c:pt>
                <c:pt idx="2">
                  <c:v>0.98</c:v>
                </c:pt>
                <c:pt idx="3">
                  <c:v>0.7</c:v>
                </c:pt>
                <c:pt idx="4">
                  <c:v>0.83</c:v>
                </c:pt>
                <c:pt idx="5">
                  <c:v>0.54</c:v>
                </c:pt>
                <c:pt idx="6">
                  <c:v>0.94</c:v>
                </c:pt>
                <c:pt idx="7">
                  <c:v>0.9</c:v>
                </c:pt>
                <c:pt idx="8">
                  <c:v>0.97</c:v>
                </c:pt>
                <c:pt idx="9">
                  <c:v>0.99</c:v>
                </c:pt>
              </c:numCache>
            </c:numRef>
          </c:xVal>
          <c:yVal>
            <c:numRef>
              <c:f>Sheet1!$B$2:$B$11</c:f>
              <c:numCache>
                <c:formatCode>General</c:formatCode>
                <c:ptCount val="10"/>
                <c:pt idx="0">
                  <c:v>2490.9578947368418</c:v>
                </c:pt>
                <c:pt idx="1">
                  <c:v>745.05970149253733</c:v>
                </c:pt>
                <c:pt idx="2">
                  <c:v>6191.2653061224491</c:v>
                </c:pt>
                <c:pt idx="3">
                  <c:v>2192.542857142857</c:v>
                </c:pt>
                <c:pt idx="4">
                  <c:v>3421.4096385542171</c:v>
                </c:pt>
                <c:pt idx="5">
                  <c:v>2624.6851851851852</c:v>
                </c:pt>
                <c:pt idx="6">
                  <c:v>2380.0744680851062</c:v>
                </c:pt>
                <c:pt idx="7">
                  <c:v>2854.1777777777779</c:v>
                </c:pt>
                <c:pt idx="8">
                  <c:v>1268.855670103093</c:v>
                </c:pt>
                <c:pt idx="9">
                  <c:v>3147.9191919191921</c:v>
                </c:pt>
              </c:numCache>
            </c:numRef>
          </c:yVal>
          <c:bubbleSize>
            <c:numRef>
              <c:f>Sheet1!$C$2:$C$11</c:f>
              <c:numCache>
                <c:formatCode>General</c:formatCode>
                <c:ptCount val="10"/>
                <c:pt idx="0">
                  <c:v>129385.6139</c:v>
                </c:pt>
                <c:pt idx="1">
                  <c:v>30082.322400000001</c:v>
                </c:pt>
                <c:pt idx="2">
                  <c:v>310226.51689999999</c:v>
                </c:pt>
                <c:pt idx="3">
                  <c:v>78650.092899999989</c:v>
                </c:pt>
                <c:pt idx="4">
                  <c:v>162101.8536</c:v>
                </c:pt>
                <c:pt idx="5">
                  <c:v>85603.147899999982</c:v>
                </c:pt>
                <c:pt idx="6">
                  <c:v>100468.05989999999</c:v>
                </c:pt>
                <c:pt idx="7">
                  <c:v>141820.57579999999</c:v>
                </c:pt>
                <c:pt idx="8">
                  <c:v>85078.340200000021</c:v>
                </c:pt>
                <c:pt idx="9">
                  <c:v>185958.43340000001</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D164134-84ED-47DA-B421-A33B6A1A61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8702533-40F2-4DCF-8EDF-F90D3BC49C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7DA8485-3080-4530-BFFA-D7F09D82B2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788F6AB-A0EB-4D70-911A-DF0D520950E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9BB005C-17CD-4A8C-8FB2-05EE97F41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C2EDB83-3E8C-4211-909C-146590F843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7EF2558-F761-43EE-AC58-30A7F3FAD1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0634497-A619-461F-BA7D-E6591C1216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32A9995-1653-456F-9084-24EB85A4A2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7F61E25-63C2-4AF0-A21D-6F19FC34FD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05</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9245410-EE8D-46AE-A554-4E26108D7E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F37F61A-7284-4E9F-821C-A33EDB8F52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471D340-16D6-4B04-A7D0-270504AD52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F5524A0-C0A4-48D6-A932-C48B16D267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C70D580-3D05-4610-8CB3-CE86667C1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28081C4-E4EE-40D3-8264-4727E67DC0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F5D1A59-0C8D-4A2F-98D1-F8A8D3401D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9302E2D-78F1-4A53-8B57-B5B40DADD6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FE3D9F1-245E-486B-A9BC-357EF5FA9F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B90BAE8-3973-4411-805D-811C45DC98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01</c:v>
                </c:pt>
                <c:pt idx="1">
                  <c:v>0.56000000000000005</c:v>
                </c:pt>
                <c:pt idx="2">
                  <c:v>0.71</c:v>
                </c:pt>
                <c:pt idx="3">
                  <c:v>0.61</c:v>
                </c:pt>
                <c:pt idx="4">
                  <c:v>0.77</c:v>
                </c:pt>
                <c:pt idx="5">
                  <c:v>0.3</c:v>
                </c:pt>
                <c:pt idx="6">
                  <c:v>0.24</c:v>
                </c:pt>
                <c:pt idx="7">
                  <c:v>0.81</c:v>
                </c:pt>
                <c:pt idx="8">
                  <c:v>0.61</c:v>
                </c:pt>
                <c:pt idx="9">
                  <c:v>0.65</c:v>
                </c:pt>
              </c:numCache>
            </c:numRef>
          </c:xVal>
          <c:yVal>
            <c:numRef>
              <c:f>Sheet1!$B$2:$B$11</c:f>
              <c:numCache>
                <c:formatCode>General</c:formatCode>
                <c:ptCount val="10"/>
                <c:pt idx="0">
                  <c:v>839</c:v>
                </c:pt>
                <c:pt idx="1">
                  <c:v>7307.5535714285706</c:v>
                </c:pt>
                <c:pt idx="2">
                  <c:v>536.43661971830988</c:v>
                </c:pt>
                <c:pt idx="3">
                  <c:v>4743.377049180328</c:v>
                </c:pt>
                <c:pt idx="4">
                  <c:v>4400.727272727273</c:v>
                </c:pt>
                <c:pt idx="5">
                  <c:v>4859.9333333333334</c:v>
                </c:pt>
                <c:pt idx="6">
                  <c:v>743.54166666666663</c:v>
                </c:pt>
                <c:pt idx="7">
                  <c:v>3557.6049382716051</c:v>
                </c:pt>
                <c:pt idx="8">
                  <c:v>609.59016393442619</c:v>
                </c:pt>
                <c:pt idx="9">
                  <c:v>5031.3076923076924</c:v>
                </c:pt>
              </c:numCache>
            </c:numRef>
          </c:yVal>
          <c:bubbleSize>
            <c:numRef>
              <c:f>Sheet1!$C$2:$C$11</c:f>
              <c:numCache>
                <c:formatCode>General</c:formatCode>
                <c:ptCount val="10"/>
                <c:pt idx="0">
                  <c:v>1341.184</c:v>
                </c:pt>
                <c:pt idx="1">
                  <c:v>278077.10879999999</c:v>
                </c:pt>
                <c:pt idx="2">
                  <c:v>24732.3076</c:v>
                </c:pt>
                <c:pt idx="3">
                  <c:v>175947.76449999999</c:v>
                </c:pt>
                <c:pt idx="4">
                  <c:v>219178.04300000001</c:v>
                </c:pt>
                <c:pt idx="5">
                  <c:v>93532.547699999996</c:v>
                </c:pt>
                <c:pt idx="6">
                  <c:v>11674.0008</c:v>
                </c:pt>
                <c:pt idx="7">
                  <c:v>181395.77009999999</c:v>
                </c:pt>
                <c:pt idx="8">
                  <c:v>25231.624599999999</c:v>
                </c:pt>
                <c:pt idx="9">
                  <c:v>230309.52960000001</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4CT</c:v>
                  </c:pt>
                  <c:pt idx="1">
                    <c:v>HYDRO 5 SENSITIVE 5 BLADE REFILL SENSITIVE 6CT</c:v>
                  </c:pt>
                  <c:pt idx="2">
                    <c:v>SCHICK XTREME 3 SENSITIVE GREEN BLACK 3 BLADE DISPOSABLE SENSITIVE 4CT</c:v>
                  </c:pt>
                  <c:pt idx="3">
                    <c:v>HYDRO 5 SENSITIVE 5 BLADE RAZOR SENSITIVE 3CT</c:v>
                  </c:pt>
                  <c:pt idx="4">
                    <c:v>SCHICK XTREME 2 SENSITIVE 2 BLADE DISPOSABLE NORMAL 12CT</c:v>
                  </c:pt>
                  <c:pt idx="5">
                    <c:v>SCHICK XTREME 3 SENSITIVE BLACK GREEN 3 BLADE DISPOSABLE SENSITIVE 12CT</c:v>
                  </c:pt>
                  <c:pt idx="6">
                    <c:v>SCHICK XTREME 3 SENSITIVE GREEN BLACK 3 BLADE DISPOSABLE SENSITIVE 12CT</c:v>
                  </c:pt>
                  <c:pt idx="7">
                    <c:v>SCHICK XTREME 3 SENSITIVE BLACK 3 BLADE DISPOSABLE SENSITIVE 4CT</c:v>
                  </c:pt>
                  <c:pt idx="8">
                    <c:v>SCHICK XTREME 3 SENSITIVE GREEN BLACK 3 BLADE DISPOSABLE SENSITIVE 8CT</c:v>
                  </c:pt>
                  <c:pt idx="9">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E42BBE1-7D4E-49B3-9D86-8C15C5E474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186347E-2D54-4FFD-9019-0E7A7C9874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BB90095-5162-4E0F-9FFA-6D9345B218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EF546DD-4995-43C3-A8AB-3CF286FD1B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CE15F2D-D986-4A70-9556-50BB29347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9C3ADAD-180E-40AF-B721-1E14B0E46E1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F80108E-3E1D-42DC-8C40-6C0FFE970B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68A1B05-2481-40E5-9B7F-9F679F9E7B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C5B24D9-ED13-4023-BB2C-DA4A0F587C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3F6E960-09BE-4D96-BBF2-CDCE36D769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74</c:v>
                </c:pt>
                <c:pt idx="1">
                  <c:v>0.41</c:v>
                </c:pt>
                <c:pt idx="2">
                  <c:v>0.91</c:v>
                </c:pt>
                <c:pt idx="3">
                  <c:v>0.53</c:v>
                </c:pt>
                <c:pt idx="4">
                  <c:v>0.65</c:v>
                </c:pt>
                <c:pt idx="5">
                  <c:v>0.4</c:v>
                </c:pt>
                <c:pt idx="6">
                  <c:v>0.82</c:v>
                </c:pt>
                <c:pt idx="7">
                  <c:v>0.65</c:v>
                </c:pt>
                <c:pt idx="8">
                  <c:v>0.95</c:v>
                </c:pt>
                <c:pt idx="9">
                  <c:v>0.95</c:v>
                </c:pt>
              </c:numCache>
            </c:numRef>
          </c:xVal>
          <c:yVal>
            <c:numRef>
              <c:f>Sheet1!$B$2:$B$11</c:f>
              <c:numCache>
                <c:formatCode>General</c:formatCode>
                <c:ptCount val="10"/>
                <c:pt idx="0">
                  <c:v>2923.9189189189192</c:v>
                </c:pt>
                <c:pt idx="1">
                  <c:v>1148.3170731707321</c:v>
                </c:pt>
                <c:pt idx="2">
                  <c:v>5807.0109890109889</c:v>
                </c:pt>
                <c:pt idx="3">
                  <c:v>3302.6981132075471</c:v>
                </c:pt>
                <c:pt idx="4">
                  <c:v>4936.0153846153844</c:v>
                </c:pt>
                <c:pt idx="5">
                  <c:v>3361.8</c:v>
                </c:pt>
                <c:pt idx="6">
                  <c:v>2862.6341463414628</c:v>
                </c:pt>
                <c:pt idx="7">
                  <c:v>3479.353846153846</c:v>
                </c:pt>
                <c:pt idx="8">
                  <c:v>1727.1789473684209</c:v>
                </c:pt>
                <c:pt idx="9">
                  <c:v>3081.3052631578948</c:v>
                </c:pt>
              </c:numCache>
            </c:numRef>
          </c:yVal>
          <c:bubbleSize>
            <c:numRef>
              <c:f>Sheet1!$C$2:$C$11</c:f>
              <c:numCache>
                <c:formatCode>General</c:formatCode>
                <c:ptCount val="10"/>
                <c:pt idx="0">
                  <c:v>119428.2879</c:v>
                </c:pt>
                <c:pt idx="1">
                  <c:v>28301.748800000001</c:v>
                </c:pt>
                <c:pt idx="2">
                  <c:v>272475.62770000001</c:v>
                </c:pt>
                <c:pt idx="3">
                  <c:v>89489.170400000003</c:v>
                </c:pt>
                <c:pt idx="4">
                  <c:v>182797.47649999999</c:v>
                </c:pt>
                <c:pt idx="5">
                  <c:v>86297.400300000008</c:v>
                </c:pt>
                <c:pt idx="6">
                  <c:v>106130.8149</c:v>
                </c:pt>
                <c:pt idx="7">
                  <c:v>125001.96189999999</c:v>
                </c:pt>
                <c:pt idx="8">
                  <c:v>114348.9244</c:v>
                </c:pt>
                <c:pt idx="9">
                  <c:v>174687.43780000001</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E873E2D-FAE1-4FCD-83C4-CDC2957082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1D6EE63-0B60-4562-99CA-9540B7C2CE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7195B7E-1B26-4D84-B235-E23AA7CF90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60BF669-1F72-422D-A451-769EA16E82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CBAF805-0F9F-4B2B-B281-F868E844F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E994338-D86E-4645-AA3C-34F5B56A3B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18A8BDA-A048-425E-9ED7-77529D08A1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158D3BD-CAFA-4C70-9DD8-D94619D4C1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B6D454F-D8AF-4E47-929E-A15BF63C07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E9401C1-A1C4-48BB-A37D-936CABC382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91</c:v>
                </c:pt>
                <c:pt idx="1">
                  <c:v>0.87</c:v>
                </c:pt>
                <c:pt idx="2">
                  <c:v>0.01</c:v>
                </c:pt>
                <c:pt idx="3">
                  <c:v>0.8</c:v>
                </c:pt>
                <c:pt idx="4">
                  <c:v>0.91</c:v>
                </c:pt>
                <c:pt idx="5">
                  <c:v>0.87</c:v>
                </c:pt>
                <c:pt idx="6">
                  <c:v>0.95</c:v>
                </c:pt>
                <c:pt idx="7">
                  <c:v>0.73</c:v>
                </c:pt>
                <c:pt idx="8">
                  <c:v>0.66</c:v>
                </c:pt>
                <c:pt idx="9">
                  <c:v>0.49</c:v>
                </c:pt>
                <c:pt idx="10">
                  <c:v>0.96</c:v>
                </c:pt>
                <c:pt idx="11">
                  <c:v>0.06</c:v>
                </c:pt>
                <c:pt idx="12">
                  <c:v>0.86</c:v>
                </c:pt>
                <c:pt idx="13">
                  <c:v>0.05</c:v>
                </c:pt>
                <c:pt idx="14">
                  <c:v>0.87</c:v>
                </c:pt>
              </c:numCache>
            </c:numRef>
          </c:xVal>
          <c:yVal>
            <c:numRef>
              <c:f>Sheet1!$B$2:$B$16</c:f>
              <c:numCache>
                <c:formatCode>General</c:formatCode>
                <c:ptCount val="15"/>
                <c:pt idx="0">
                  <c:v>14923.912087912089</c:v>
                </c:pt>
                <c:pt idx="1">
                  <c:v>12997.022988505751</c:v>
                </c:pt>
                <c:pt idx="2">
                  <c:v>4359</c:v>
                </c:pt>
                <c:pt idx="3">
                  <c:v>57541.387499999997</c:v>
                </c:pt>
                <c:pt idx="4">
                  <c:v>5099.131868131868</c:v>
                </c:pt>
                <c:pt idx="5">
                  <c:v>41378.275862068956</c:v>
                </c:pt>
                <c:pt idx="6">
                  <c:v>44077.368421052633</c:v>
                </c:pt>
                <c:pt idx="7">
                  <c:v>36036.28767123288</c:v>
                </c:pt>
                <c:pt idx="8">
                  <c:v>6147.757575757576</c:v>
                </c:pt>
                <c:pt idx="9">
                  <c:v>66122.918367346938</c:v>
                </c:pt>
                <c:pt idx="10">
                  <c:v>36195.333333333343</c:v>
                </c:pt>
                <c:pt idx="11">
                  <c:v>19149.166666666672</c:v>
                </c:pt>
                <c:pt idx="12">
                  <c:v>5750.2906976744189</c:v>
                </c:pt>
                <c:pt idx="13">
                  <c:v>19381.2</c:v>
                </c:pt>
                <c:pt idx="14">
                  <c:v>42870.586206896551</c:v>
                </c:pt>
              </c:numCache>
            </c:numRef>
          </c:yVal>
          <c:bubbleSize>
            <c:numRef>
              <c:f>Sheet1!$C$2:$C$16</c:f>
              <c:numCache>
                <c:formatCode>General</c:formatCode>
                <c:ptCount val="15"/>
                <c:pt idx="0">
                  <c:v>1055523.5941999999</c:v>
                </c:pt>
                <c:pt idx="1">
                  <c:v>836275.50840000005</c:v>
                </c:pt>
                <c:pt idx="2">
                  <c:v>6169.4463999999998</c:v>
                </c:pt>
                <c:pt idx="3">
                  <c:v>3125406.0482000001</c:v>
                </c:pt>
                <c:pt idx="4">
                  <c:v>302112.82919999998</c:v>
                </c:pt>
                <c:pt idx="5">
                  <c:v>2189444.7601999999</c:v>
                </c:pt>
                <c:pt idx="6">
                  <c:v>2717686.2453999999</c:v>
                </c:pt>
                <c:pt idx="7">
                  <c:v>1682330.8056999999</c:v>
                </c:pt>
                <c:pt idx="8">
                  <c:v>265583.51819999999</c:v>
                </c:pt>
                <c:pt idx="9">
                  <c:v>2525616.0184999998</c:v>
                </c:pt>
                <c:pt idx="10">
                  <c:v>2189858.2104000002</c:v>
                </c:pt>
                <c:pt idx="11">
                  <c:v>72621.147599999997</c:v>
                </c:pt>
                <c:pt idx="12">
                  <c:v>336996.18599999999</c:v>
                </c:pt>
                <c:pt idx="13">
                  <c:v>69360.267600000006</c:v>
                </c:pt>
                <c:pt idx="14">
                  <c:v>2631441.1776000001</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SCHICK XTREME 3 SENSITIVE GREEN HOLIDAY GIFT PACK 3 BLADE DISPOSABLE SENSITIVE 8CT</c:v>
                  </c:pt>
                  <c:pt idx="2">
                    <c:v>HYDRO 5 SENSITIVE 5 BLADE REFILL SENSITIVE 4CT</c:v>
                  </c:pt>
                  <c:pt idx="3">
                    <c:v>HYDRO 5 SENSITIVE 5 BLADE REFILL SENSITIVE 6CT</c:v>
                  </c:pt>
                  <c:pt idx="4">
                    <c:v>SCHICK XTREME 3 SENSITIVE GREEN BLACK 3 BLADE DISPOSABLE SENSITIVE 4CT</c:v>
                  </c:pt>
                  <c:pt idx="5">
                    <c:v>HYDRO 5 SENSITIVE 5 BLADE RAZOR SENSITIVE 3CT</c:v>
                  </c:pt>
                  <c:pt idx="6">
                    <c:v>SCHICK XTREME 2 SENSITIVE 2 BLADE DISPOSABLE NORMAL 12CT</c:v>
                  </c:pt>
                  <c:pt idx="7">
                    <c:v>SCHICK XTREME 3 SENSITIVE BLACK GREEN 3 BLADE DISPOSABLE SENSITIVE 12CT</c:v>
                  </c:pt>
                  <c:pt idx="8">
                    <c:v>SCHICK XTREME 3 SENSITIVE GREEN BLACK 3 BLADE DISPOSABLE SENSITIVE 12CT</c:v>
                  </c:pt>
                  <c:pt idx="9">
                    <c:v>HYDRO 5 SENSITIVE 5 BLADE REFILL SENSITIVE 12CT</c:v>
                  </c:pt>
                  <c:pt idx="10">
                    <c:v>SCHICK XTREME 3 SENSITIVE BLACK 3 BLADE DISPOSABLE SENSITIVE 4CT</c:v>
                  </c:pt>
                  <c:pt idx="11">
                    <c:v>SCHICK HYDRO 3 SENSITIVE 3 BLADE RAZOR SENSITIVE 4CT</c:v>
                  </c:pt>
                  <c:pt idx="12">
                    <c:v>SCHICK XTREME 3 SENSITIVE GREEN BLACK 3 BLADE DISPOSABLE SENSITIVE 8CT</c:v>
                  </c:pt>
                  <c:pt idx="13">
                    <c:v>SCHICK HYDRO 3 SENSITIVE 3 BLADE REFILL SENSITIVE 5CT</c:v>
                  </c:pt>
                  <c:pt idx="14">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E907F9-697E-4C70-A055-8A22E66AEF4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A1EA335-78C9-4FA1-A892-3A87041E9E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98B486D-3A28-4692-8B2B-7FD37F117E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37FC67-CF02-4EF9-94AB-2F03172AE1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FCE19A8-001F-4BD1-9429-22FEEA3F3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8489393-45BF-441E-A42C-EAA368D8B3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7843EB4-498C-4BC2-BF2A-87ABF0AB97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6048E82-A80E-4705-B563-2635F20BA6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CE32E4F-9CC6-4716-82F5-258675BA1D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A2A30C2-03E7-4496-A9B3-AC709048F4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5</c:v>
                </c:pt>
                <c:pt idx="1">
                  <c:v>0.71</c:v>
                </c:pt>
                <c:pt idx="2">
                  <c:v>0.99</c:v>
                </c:pt>
                <c:pt idx="3">
                  <c:v>0.77</c:v>
                </c:pt>
                <c:pt idx="4">
                  <c:v>0.86</c:v>
                </c:pt>
                <c:pt idx="5">
                  <c:v>0.6</c:v>
                </c:pt>
                <c:pt idx="6">
                  <c:v>0.97</c:v>
                </c:pt>
                <c:pt idx="7">
                  <c:v>0.93</c:v>
                </c:pt>
                <c:pt idx="8">
                  <c:v>0.98</c:v>
                </c:pt>
                <c:pt idx="9">
                  <c:v>0.99</c:v>
                </c:pt>
              </c:numCache>
            </c:numRef>
          </c:xVal>
          <c:yVal>
            <c:numRef>
              <c:f>Sheet1!$B$2:$B$11</c:f>
              <c:numCache>
                <c:formatCode>General</c:formatCode>
                <c:ptCount val="10"/>
                <c:pt idx="0">
                  <c:v>29486.863157894739</c:v>
                </c:pt>
                <c:pt idx="1">
                  <c:v>8564.5633802816901</c:v>
                </c:pt>
                <c:pt idx="2">
                  <c:v>76941.121212121216</c:v>
                </c:pt>
                <c:pt idx="3">
                  <c:v>26568.493506493509</c:v>
                </c:pt>
                <c:pt idx="4">
                  <c:v>46244.011627906977</c:v>
                </c:pt>
                <c:pt idx="5">
                  <c:v>32905.133333333331</c:v>
                </c:pt>
                <c:pt idx="6">
                  <c:v>32042.247422680412</c:v>
                </c:pt>
                <c:pt idx="7">
                  <c:v>33695.247311827959</c:v>
                </c:pt>
                <c:pt idx="8">
                  <c:v>14956.693877551021</c:v>
                </c:pt>
                <c:pt idx="9">
                  <c:v>32799.737373737371</c:v>
                </c:pt>
              </c:numCache>
            </c:numRef>
          </c:yVal>
          <c:bubbleSize>
            <c:numRef>
              <c:f>Sheet1!$C$2:$C$11</c:f>
              <c:numCache>
                <c:formatCode>General</c:formatCode>
                <c:ptCount val="10"/>
                <c:pt idx="0">
                  <c:v>1549808.4678</c:v>
                </c:pt>
                <c:pt idx="1">
                  <c:v>365615.01729999989</c:v>
                </c:pt>
                <c:pt idx="2">
                  <c:v>3936071.3594</c:v>
                </c:pt>
                <c:pt idx="3">
                  <c:v>1046552.1158</c:v>
                </c:pt>
                <c:pt idx="4">
                  <c:v>2266539.6035000002</c:v>
                </c:pt>
                <c:pt idx="5">
                  <c:v>1171834.1069</c:v>
                </c:pt>
                <c:pt idx="6">
                  <c:v>1407622.4701</c:v>
                </c:pt>
                <c:pt idx="7">
                  <c:v>1730514.1758999999</c:v>
                </c:pt>
                <c:pt idx="8">
                  <c:v>1029392.1368</c:v>
                </c:pt>
                <c:pt idx="9">
                  <c:v>1937934.2557999999</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B06758A-E41D-4413-8C34-DAEDBF27A01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6E2952F-EE44-4CC8-8396-A8A9749451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9DF999F-360C-40E5-A9E6-D9822529F1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548E474-884E-44EE-8B9F-61C02FCB17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DCFB529-989D-4E59-9AAA-3CA8EB41F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FA81551-BCF7-4E7B-971E-162580E0C7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29A0809-72F6-4ECC-BFB5-35CE728C61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9FC3E83-FA2F-4646-B10D-1C76D4448E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7104F11-A91C-49BA-8E0E-4B994C07EC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3C301CE-0D23-4C6C-8B8C-0B65959645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3</c:v>
                </c:pt>
                <c:pt idx="1">
                  <c:v>7.0000000000000007E-2</c:v>
                </c:pt>
              </c:numCache>
            </c:numRef>
          </c:xVal>
          <c:yVal>
            <c:numRef>
              <c:f>Sheet1!$B$2:$B$3</c:f>
              <c:numCache>
                <c:formatCode>General</c:formatCode>
                <c:ptCount val="2"/>
                <c:pt idx="0">
                  <c:v>6680.8461538461543</c:v>
                </c:pt>
                <c:pt idx="1">
                  <c:v>5990.2857142857138</c:v>
                </c:pt>
              </c:numCache>
            </c:numRef>
          </c:yVal>
          <c:bubbleSize>
            <c:numRef>
              <c:f>Sheet1!$C$2:$C$3</c:f>
              <c:numCache>
                <c:formatCode>General</c:formatCode>
                <c:ptCount val="2"/>
                <c:pt idx="0">
                  <c:v>55007.155300000013</c:v>
                </c:pt>
                <c:pt idx="1">
                  <c:v>27404.931199999999</c:v>
                </c:pt>
              </c:numCache>
            </c:numRef>
          </c:bubbleSize>
          <c:bubble3D val="0"/>
          <c:extLst>
            <c:ext xmlns:c15="http://schemas.microsoft.com/office/drawing/2012/chart" uri="{02D57815-91ED-43cb-92C2-25804820EDAC}">
              <c15:datalabelsRange>
                <c15:f>Sheet1!$E$2:$E$21</c15:f>
                <c15:dlblRangeCache>
                  <c:ptCount val="20"/>
                  <c:pt idx="0">
                    <c:v>CREMO 5 BLADE RAZOR NORMAL 2CT</c:v>
                  </c:pt>
                  <c:pt idx="1">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CBA8634-9516-474D-9377-01877A002C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5129C8A-ABAC-4353-8610-2D809619CB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1B0ED4D-260C-419E-AE62-A044D29769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CAB44A7-5451-4D67-9DCD-4F146F2C5D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4E2E4EA-5C67-4EBF-9156-6428B6428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8D5A20D-62B0-4B86-B18B-2B5024EA70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7D9FF47-498A-4F88-AB63-E58926A92C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09345B7-8F56-4ADC-9804-9AB849C2A0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A9387AA-BD45-4436-A8A5-FDD9945AC3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5CBE811-E5BF-4D03-BB53-601E13AA23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79300000000000004</c:v>
                </c:pt>
                <c:pt idx="1">
                  <c:v>0.01</c:v>
                </c:pt>
                <c:pt idx="2">
                  <c:v>0.78500000000000003</c:v>
                </c:pt>
                <c:pt idx="3">
                  <c:v>0.85199999999999998</c:v>
                </c:pt>
                <c:pt idx="4">
                  <c:v>0.44800000000000001</c:v>
                </c:pt>
                <c:pt idx="5">
                  <c:v>5.6000000000000001E-2</c:v>
                </c:pt>
                <c:pt idx="6">
                  <c:v>4.5999999999999999E-2</c:v>
                </c:pt>
              </c:numCache>
            </c:numRef>
          </c:xVal>
          <c:yVal>
            <c:numRef>
              <c:f>Sheet1!$B$2:$B$8</c:f>
              <c:numCache>
                <c:formatCode>General</c:formatCode>
                <c:ptCount val="7"/>
                <c:pt idx="0">
                  <c:v>17181.197982345519</c:v>
                </c:pt>
                <c:pt idx="1">
                  <c:v>5644</c:v>
                </c:pt>
                <c:pt idx="2">
                  <c:v>68443.006369426745</c:v>
                </c:pt>
                <c:pt idx="3">
                  <c:v>48994.894366197179</c:v>
                </c:pt>
                <c:pt idx="4">
                  <c:v>75992.745535714275</c:v>
                </c:pt>
                <c:pt idx="5">
                  <c:v>21416.964285714279</c:v>
                </c:pt>
                <c:pt idx="6">
                  <c:v>21986.73913043478</c:v>
                </c:pt>
              </c:numCache>
            </c:numRef>
          </c:yVal>
          <c:bubbleSize>
            <c:numRef>
              <c:f>Sheet1!$C$2:$C$8</c:f>
              <c:numCache>
                <c:formatCode>General</c:formatCode>
                <c:ptCount val="7"/>
                <c:pt idx="0">
                  <c:v>1058631.9765999999</c:v>
                </c:pt>
                <c:pt idx="1">
                  <c:v>8139.9551999999994</c:v>
                </c:pt>
                <c:pt idx="2">
                  <c:v>3648181.7445999999</c:v>
                </c:pt>
                <c:pt idx="3">
                  <c:v>2538781.9904</c:v>
                </c:pt>
                <c:pt idx="4">
                  <c:v>2654418.0469</c:v>
                </c:pt>
                <c:pt idx="5">
                  <c:v>75862.37519999998</c:v>
                </c:pt>
                <c:pt idx="6">
                  <c:v>72733.44779999998</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EFILL SENSITIVE 4CT</c:v>
                  </c:pt>
                  <c:pt idx="2">
                    <c:v>HYDRO 5 SENSITIVE 5 BLADE REFILL SENSITIVE 6CT</c:v>
                  </c:pt>
                  <c:pt idx="3">
                    <c:v>HYDRO 5 SENSITIVE 5 BLADE RAZOR SENSITIVE 3CT</c:v>
                  </c:pt>
                  <c:pt idx="4">
                    <c:v>HYDRO 5 SENSITIVE 5 BLADE REFILL SENSITIVE 12CT</c:v>
                  </c:pt>
                  <c:pt idx="5">
                    <c:v>SCHICK HYDRO 3 SENSITIVE 3 BLADE RAZOR SENSITIVE 4CT</c:v>
                  </c:pt>
                  <c:pt idx="6">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4A8CEDF-2181-4D4A-B88B-94305C43FB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1EBF8E4-C3ED-4882-A0FE-C5A3AE04761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3999537-63DE-4006-B746-78932D2D24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231A723-7C84-4585-9BC1-6D6FC0F27A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41EC9CD-4776-4218-9246-B28934335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8B5541F-3C7C-42DE-956E-57AD8F59DA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5AAABF0-380C-4B98-8A8C-DBBBCC71E5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7E04917-2A0E-42ED-BC7C-FFBA8CDF37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4D55DC0-107D-4AD0-BA93-00F8CCD3F0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D49C9D5-A1FF-4C77-A69B-6C82F43A00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68899999999999995</c:v>
                </c:pt>
                <c:pt idx="1">
                  <c:v>0.751</c:v>
                </c:pt>
                <c:pt idx="2">
                  <c:v>0.84499999999999997</c:v>
                </c:pt>
                <c:pt idx="3">
                  <c:v>0.58399999999999996</c:v>
                </c:pt>
              </c:numCache>
            </c:numRef>
          </c:xVal>
          <c:yVal>
            <c:numRef>
              <c:f>Sheet1!$B$2:$B$5</c:f>
              <c:numCache>
                <c:formatCode>General</c:formatCode>
                <c:ptCount val="4"/>
                <c:pt idx="0">
                  <c:v>10233.43976777939</c:v>
                </c:pt>
                <c:pt idx="1">
                  <c:v>31615.11318242344</c:v>
                </c:pt>
                <c:pt idx="2">
                  <c:v>54222.520710059172</c:v>
                </c:pt>
                <c:pt idx="3">
                  <c:v>38536.181506849323</c:v>
                </c:pt>
              </c:numCache>
            </c:numRef>
          </c:yVal>
          <c:bubbleSize>
            <c:numRef>
              <c:f>Sheet1!$C$2:$C$5</c:f>
              <c:numCache>
                <c:formatCode>General</c:formatCode>
                <c:ptCount val="4"/>
                <c:pt idx="0">
                  <c:v>423999.08850000001</c:v>
                </c:pt>
                <c:pt idx="1">
                  <c:v>1214691.3791</c:v>
                </c:pt>
                <c:pt idx="2">
                  <c:v>2611438.9336000001</c:v>
                </c:pt>
                <c:pt idx="3">
                  <c:v>1343734.6551000001</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30ABA75-F684-4B73-A7BD-F4A2998F7A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2076305-5767-4FE8-939B-511D77C40C4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F99CDB3-3FFB-41AA-BFE5-954A2FBA90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F3A93C0-C55B-4C8B-B79D-8915D3599A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49998FF-A1D7-4FC2-94C0-C24B15FE4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E0E3B31-43F4-46E4-A14B-DB8BE5478F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E3954BC-D445-4B0D-A5CD-49B3EAD8A97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4543C73-68FB-46DC-A23E-CBEB18B2B4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B5D8B9F-780B-4360-AD81-9F4334CE0F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5CB4F53-80D5-453B-A7AB-ED5D27E852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1700000000000001</c:v>
                </c:pt>
                <c:pt idx="1">
                  <c:v>6.4000000000000001E-2</c:v>
                </c:pt>
              </c:numCache>
            </c:numRef>
          </c:xVal>
          <c:yVal>
            <c:numRef>
              <c:f>Sheet1!$B$2:$B$3</c:f>
              <c:numCache>
                <c:formatCode>General</c:formatCode>
                <c:ptCount val="2"/>
                <c:pt idx="0">
                  <c:v>7625.1282051282042</c:v>
                </c:pt>
                <c:pt idx="1">
                  <c:v>6750.3125</c:v>
                </c:pt>
              </c:numCache>
            </c:numRef>
          </c:yVal>
          <c:bubbleSize>
            <c:numRef>
              <c:f>Sheet1!$C$2:$C$3</c:f>
              <c:numCache>
                <c:formatCode>General</c:formatCode>
                <c:ptCount val="2"/>
                <c:pt idx="0">
                  <c:v>56493.237800000003</c:v>
                </c:pt>
                <c:pt idx="1">
                  <c:v>28272.369699999999</c:v>
                </c:pt>
              </c:numCache>
            </c:numRef>
          </c:bubbleSize>
          <c:bubble3D val="0"/>
          <c:extLst>
            <c:ext xmlns:c15="http://schemas.microsoft.com/office/drawing/2012/chart" uri="{02D57815-91ED-43cb-92C2-25804820EDAC}">
              <c15:datalabelsRange>
                <c15:f>Sheet1!$E$2:$E$21</c15:f>
                <c15:dlblRangeCache>
                  <c:ptCount val="20"/>
                  <c:pt idx="0">
                    <c:v>CREMO 5 BLADE RAZOR NORMAL 2CT</c:v>
                  </c:pt>
                  <c:pt idx="1">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09C4750-D46A-4358-B39B-F0641BD010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0AEA604-0039-42F4-80D7-2C70CA59C0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46B3C64-9E72-4D23-B495-1BA6204A2A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8310308-0818-47C2-AEAE-6CFFBE57F5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8C85815-EB89-4D93-9E33-72B395021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3A47475-8B5F-45EA-B9B9-91543B488F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6BA2C07-FE50-455A-8E32-46268A69AB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F073E4F-2389-4C2E-8F31-CC47A29509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984EDFE-0408-4E02-896D-2C222A6584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5FC5DA0-7128-42AF-96AD-F1B26BC97F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4</c:v>
                </c:pt>
                <c:pt idx="1">
                  <c:v>0.79</c:v>
                </c:pt>
                <c:pt idx="2">
                  <c:v>0.83</c:v>
                </c:pt>
                <c:pt idx="3">
                  <c:v>0.31</c:v>
                </c:pt>
                <c:pt idx="4">
                  <c:v>0.05</c:v>
                </c:pt>
                <c:pt idx="5">
                  <c:v>0.04</c:v>
                </c:pt>
              </c:numCache>
            </c:numRef>
          </c:xVal>
          <c:yVal>
            <c:numRef>
              <c:f>Sheet1!$B$2:$B$7</c:f>
              <c:numCache>
                <c:formatCode>General</c:formatCode>
                <c:ptCount val="6"/>
                <c:pt idx="0">
                  <c:v>1094.75</c:v>
                </c:pt>
                <c:pt idx="1">
                  <c:v>4560.0253164556962</c:v>
                </c:pt>
                <c:pt idx="2">
                  <c:v>3435.0481927710839</c:v>
                </c:pt>
                <c:pt idx="3">
                  <c:v>5275.4193548387093</c:v>
                </c:pt>
                <c:pt idx="4">
                  <c:v>999.2</c:v>
                </c:pt>
                <c:pt idx="5">
                  <c:v>1055.75</c:v>
                </c:pt>
              </c:numCache>
            </c:numRef>
          </c:yVal>
          <c:bubbleSize>
            <c:numRef>
              <c:f>Sheet1!$C$2:$C$7</c:f>
              <c:numCache>
                <c:formatCode>General</c:formatCode>
                <c:ptCount val="6"/>
                <c:pt idx="0">
                  <c:v>3101.6833000000001</c:v>
                </c:pt>
                <c:pt idx="1">
                  <c:v>244698.5876</c:v>
                </c:pt>
                <c:pt idx="2">
                  <c:v>173389.4657</c:v>
                </c:pt>
                <c:pt idx="3">
                  <c:v>127660.91680000001</c:v>
                </c:pt>
                <c:pt idx="4">
                  <c:v>3205.0187999999998</c:v>
                </c:pt>
                <c:pt idx="5">
                  <c:v>3367.1781000000001</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EFILL SENSITIVE 6CT</c:v>
                  </c:pt>
                  <c:pt idx="2">
                    <c:v>HYDRO 5 SENSITIVE 5 BLADE RAZOR SENSITIVE 3CT</c:v>
                  </c:pt>
                  <c:pt idx="3">
                    <c:v>HYDRO 5 SENSITIVE 5 BLADE REFILL SENSITIVE 12CT</c:v>
                  </c:pt>
                  <c:pt idx="4">
                    <c:v>SCHICK HYDRO 3 SENSITIVE 3 BLADE RAZOR SENSITIVE 4CT</c:v>
                  </c:pt>
                  <c:pt idx="5">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F5525E9-1C98-4D05-A56B-AAA95913C5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C6755FE-66DE-4764-9360-B7A20DDBB0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03F4D19-F53C-4782-BA5E-070DC0775A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9D2A8EB-16CF-4860-8BFF-F12DD7D9EB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2D2566A-B98D-4826-8989-8A1614346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280AFF0-4B41-4AE8-A969-1E04A0CD07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63F3818-20DC-47AB-8FE7-113A98A1C0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E021D44-BAB2-4FC7-8C1A-A1B524628A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8854918-05F8-440C-975E-693F2DFDBB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6DCEBE9-B076-4BB3-A1FE-5E4A96A3C1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67</c:v>
                </c:pt>
                <c:pt idx="1">
                  <c:v>0.7</c:v>
                </c:pt>
                <c:pt idx="2">
                  <c:v>0.83</c:v>
                </c:pt>
                <c:pt idx="3">
                  <c:v>0.54</c:v>
                </c:pt>
              </c:numCache>
            </c:numRef>
          </c:xVal>
          <c:yVal>
            <c:numRef>
              <c:f>Sheet1!$B$2:$B$5</c:f>
              <c:numCache>
                <c:formatCode>General</c:formatCode>
                <c:ptCount val="4"/>
                <c:pt idx="0">
                  <c:v>745.05970149253733</c:v>
                </c:pt>
                <c:pt idx="1">
                  <c:v>2192.542857142857</c:v>
                </c:pt>
                <c:pt idx="2">
                  <c:v>3421.4096385542171</c:v>
                </c:pt>
                <c:pt idx="3">
                  <c:v>2624.6851851851852</c:v>
                </c:pt>
              </c:numCache>
            </c:numRef>
          </c:yVal>
          <c:bubbleSize>
            <c:numRef>
              <c:f>Sheet1!$C$2:$C$5</c:f>
              <c:numCache>
                <c:formatCode>General</c:formatCode>
                <c:ptCount val="4"/>
                <c:pt idx="0">
                  <c:v>30082.322400000001</c:v>
                </c:pt>
                <c:pt idx="1">
                  <c:v>78650.092899999989</c:v>
                </c:pt>
                <c:pt idx="2">
                  <c:v>162101.8536</c:v>
                </c:pt>
                <c:pt idx="3">
                  <c:v>85603.147899999982</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80A675B-AB49-463D-901B-8C524D281F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DFA8A7A-9A64-4935-B7E5-0876684E3E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7FD964D-DE58-476A-86BD-124859B84E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EE00D8B-BFE9-47CC-A44F-7F4A5E4117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16F3656-CCBD-4FA1-B82A-A264251EA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A0A4181-003E-4440-A898-30B18E4712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C747BFC-8510-4E3F-9789-FC1AE97401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608DFA8-9A69-4393-92BD-4E2828A846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A06599C-F90F-45A2-B070-98E2736A1C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602819D-C98E-4EB3-8AB9-026B60405D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05</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EACEBD4-AB1E-479C-9851-17FFFA5A6C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5F82A63-1D06-4E8A-A29E-70DE932C5F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D932FAF-AD08-4A06-915F-6192BAA514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1ACFCE0-57FE-46B1-BCE0-7F262FE1D3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B27F644-EFF1-47A7-9067-CE346B913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A260031-3473-4805-93A1-4DCFD6B4DD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792C65B-8072-4623-8074-543727FF027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CBDBAA4-107C-4B68-AB61-6FC6237DFF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7EE2597-1988-4474-BF4E-621532075E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A78DD82-7AE8-49AE-8600-52FBD78F00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1</c:v>
                </c:pt>
                <c:pt idx="1">
                  <c:v>0.56000000000000005</c:v>
                </c:pt>
                <c:pt idx="2">
                  <c:v>0.61</c:v>
                </c:pt>
              </c:numCache>
            </c:numRef>
          </c:xVal>
          <c:yVal>
            <c:numRef>
              <c:f>Sheet1!$B$2:$B$4</c:f>
              <c:numCache>
                <c:formatCode>General</c:formatCode>
                <c:ptCount val="3"/>
                <c:pt idx="0">
                  <c:v>839</c:v>
                </c:pt>
                <c:pt idx="1">
                  <c:v>7307.5535714285706</c:v>
                </c:pt>
                <c:pt idx="2">
                  <c:v>4743.377049180328</c:v>
                </c:pt>
              </c:numCache>
            </c:numRef>
          </c:yVal>
          <c:bubbleSize>
            <c:numRef>
              <c:f>Sheet1!$C$2:$C$4</c:f>
              <c:numCache>
                <c:formatCode>General</c:formatCode>
                <c:ptCount val="3"/>
                <c:pt idx="0">
                  <c:v>1341.184</c:v>
                </c:pt>
                <c:pt idx="1">
                  <c:v>278077.10879999999</c:v>
                </c:pt>
                <c:pt idx="2">
                  <c:v>175947.76449999999</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4CT</c:v>
                  </c:pt>
                  <c:pt idx="1">
                    <c:v>HYDRO 5 SENSITIVE 5 BLADE REFILL SENSITIVE 6CT</c:v>
                  </c:pt>
                  <c:pt idx="2">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9980052238835</c:v>
                </c:pt>
                <c:pt idx="1">
                  <c:v>1.9947761165745713E-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1.0000001994776515</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A013C26-4ECD-4B80-A95A-0F812B6924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A37DA63-91D4-48A7-BDFB-AD3F0BCFA02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77A52BA-F5B1-4CDF-B79A-BC668489A7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EF72F06-9FB9-446A-8FAF-D012D554BB1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3F9C0C3-1997-443A-80B6-7D32CA759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AE2195F-459F-42FB-BC94-3538AAA054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A35BF42-D2AB-4125-B246-51DC8FE8BE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35CA256-C8B6-416B-B021-20FC140932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A13C5A3-CD3D-489D-AA7B-F2D16F483B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2FAAC83-8B5B-4EDF-BEA9-AF3F1FF6DE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41</c:v>
                </c:pt>
                <c:pt idx="1">
                  <c:v>0.53</c:v>
                </c:pt>
                <c:pt idx="2">
                  <c:v>0.65</c:v>
                </c:pt>
                <c:pt idx="3">
                  <c:v>0.4</c:v>
                </c:pt>
              </c:numCache>
            </c:numRef>
          </c:xVal>
          <c:yVal>
            <c:numRef>
              <c:f>Sheet1!$B$2:$B$5</c:f>
              <c:numCache>
                <c:formatCode>General</c:formatCode>
                <c:ptCount val="4"/>
                <c:pt idx="0">
                  <c:v>1148.3170731707321</c:v>
                </c:pt>
                <c:pt idx="1">
                  <c:v>3302.6981132075471</c:v>
                </c:pt>
                <c:pt idx="2">
                  <c:v>4936.0153846153844</c:v>
                </c:pt>
                <c:pt idx="3">
                  <c:v>3361.8</c:v>
                </c:pt>
              </c:numCache>
            </c:numRef>
          </c:yVal>
          <c:bubbleSize>
            <c:numRef>
              <c:f>Sheet1!$C$2:$C$5</c:f>
              <c:numCache>
                <c:formatCode>General</c:formatCode>
                <c:ptCount val="4"/>
                <c:pt idx="0">
                  <c:v>28301.748800000001</c:v>
                </c:pt>
                <c:pt idx="1">
                  <c:v>89489.170400000003</c:v>
                </c:pt>
                <c:pt idx="2">
                  <c:v>182797.47649999999</c:v>
                </c:pt>
                <c:pt idx="3">
                  <c:v>86297.400300000008</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0661F72-B59E-4744-BB83-69C623CF1D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1C8DF81-5C3F-4853-A8FB-FEB7E09A41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97DB827-1B10-4930-B9E6-A86697A5F5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A95A517-29BA-4835-A51F-BD95073B25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F28589B-7208-4A55-A58B-C96351F5D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7D32F69-F072-4CAE-B7E8-23B0623510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D5A96C5-3E13-4B30-B9E9-9B46A53256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A229B0A-8FCE-4B4F-855A-CFF35642C1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5BFD0E1-8256-4001-9D32-999413E9E3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004EB6A-C2BB-4209-9BEB-26EA26ABDA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91</c:v>
                </c:pt>
                <c:pt idx="1">
                  <c:v>0.01</c:v>
                </c:pt>
                <c:pt idx="2">
                  <c:v>0.8</c:v>
                </c:pt>
                <c:pt idx="3">
                  <c:v>0.87</c:v>
                </c:pt>
                <c:pt idx="4">
                  <c:v>0.49</c:v>
                </c:pt>
                <c:pt idx="5">
                  <c:v>0.06</c:v>
                </c:pt>
                <c:pt idx="6">
                  <c:v>0.05</c:v>
                </c:pt>
              </c:numCache>
            </c:numRef>
          </c:xVal>
          <c:yVal>
            <c:numRef>
              <c:f>Sheet1!$B$2:$B$8</c:f>
              <c:numCache>
                <c:formatCode>General</c:formatCode>
                <c:ptCount val="7"/>
                <c:pt idx="0">
                  <c:v>14923.912087912089</c:v>
                </c:pt>
                <c:pt idx="1">
                  <c:v>4359</c:v>
                </c:pt>
                <c:pt idx="2">
                  <c:v>57541.387499999997</c:v>
                </c:pt>
                <c:pt idx="3">
                  <c:v>41378.275862068956</c:v>
                </c:pt>
                <c:pt idx="4">
                  <c:v>66122.918367346938</c:v>
                </c:pt>
                <c:pt idx="5">
                  <c:v>19149.166666666672</c:v>
                </c:pt>
                <c:pt idx="6">
                  <c:v>19381.2</c:v>
                </c:pt>
              </c:numCache>
            </c:numRef>
          </c:yVal>
          <c:bubbleSize>
            <c:numRef>
              <c:f>Sheet1!$C$2:$C$8</c:f>
              <c:numCache>
                <c:formatCode>General</c:formatCode>
                <c:ptCount val="7"/>
                <c:pt idx="0">
                  <c:v>1055523.5941999999</c:v>
                </c:pt>
                <c:pt idx="1">
                  <c:v>6169.4463999999998</c:v>
                </c:pt>
                <c:pt idx="2">
                  <c:v>3125406.0482000001</c:v>
                </c:pt>
                <c:pt idx="3">
                  <c:v>2189444.7601999999</c:v>
                </c:pt>
                <c:pt idx="4">
                  <c:v>2525616.0184999998</c:v>
                </c:pt>
                <c:pt idx="5">
                  <c:v>72621.147599999997</c:v>
                </c:pt>
                <c:pt idx="6">
                  <c:v>69360.267600000006</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EFILL SENSITIVE 4CT</c:v>
                  </c:pt>
                  <c:pt idx="2">
                    <c:v>HYDRO 5 SENSITIVE 5 BLADE REFILL SENSITIVE 6CT</c:v>
                  </c:pt>
                  <c:pt idx="3">
                    <c:v>HYDRO 5 SENSITIVE 5 BLADE RAZOR SENSITIVE 3CT</c:v>
                  </c:pt>
                  <c:pt idx="4">
                    <c:v>HYDRO 5 SENSITIVE 5 BLADE REFILL SENSITIVE 12CT</c:v>
                  </c:pt>
                  <c:pt idx="5">
                    <c:v>SCHICK HYDRO 3 SENSITIVE 3 BLADE RAZOR SENSITIVE 4CT</c:v>
                  </c:pt>
                  <c:pt idx="6">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2BD32C3-33CB-4A09-B1AC-13AA33DC7E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D748D1D-A620-4E97-B8AB-B00915C0CF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BB34284-5433-4D6F-948D-D48D71CD597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0B90BDF-ADDE-45B7-BFE1-B203CAC1DF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E68133A-2D2E-437E-917F-D5179CF4E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885E6A6-7303-49BD-AAA2-C9A311CA79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48AE964-72FE-4D31-9834-CB3520863D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10ABD04-6FBA-4294-88AA-FA22107781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3486535-874B-41C6-8F2A-E8BD5AE4C4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2D2F84D-EB9E-48A5-B8D2-3B21AFFE55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71</c:v>
                </c:pt>
                <c:pt idx="1">
                  <c:v>0.77</c:v>
                </c:pt>
                <c:pt idx="2">
                  <c:v>0.86</c:v>
                </c:pt>
                <c:pt idx="3">
                  <c:v>0.6</c:v>
                </c:pt>
              </c:numCache>
            </c:numRef>
          </c:xVal>
          <c:yVal>
            <c:numRef>
              <c:f>Sheet1!$B$2:$B$5</c:f>
              <c:numCache>
                <c:formatCode>General</c:formatCode>
                <c:ptCount val="4"/>
                <c:pt idx="0">
                  <c:v>8564.5633802816901</c:v>
                </c:pt>
                <c:pt idx="1">
                  <c:v>26568.493506493509</c:v>
                </c:pt>
                <c:pt idx="2">
                  <c:v>46244.011627906977</c:v>
                </c:pt>
                <c:pt idx="3">
                  <c:v>32905.133333333331</c:v>
                </c:pt>
              </c:numCache>
            </c:numRef>
          </c:yVal>
          <c:bubbleSize>
            <c:numRef>
              <c:f>Sheet1!$C$2:$C$5</c:f>
              <c:numCache>
                <c:formatCode>General</c:formatCode>
                <c:ptCount val="4"/>
                <c:pt idx="0">
                  <c:v>365615.01729999989</c:v>
                </c:pt>
                <c:pt idx="1">
                  <c:v>1046552.1158</c:v>
                </c:pt>
                <c:pt idx="2">
                  <c:v>2266539.6035000002</c:v>
                </c:pt>
                <c:pt idx="3">
                  <c:v>1171834.1069</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EB1BC0C-640E-4DC8-AB8F-3CDEE0A6A9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7F60C28-C6D9-4B79-BF5D-28DB87794B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36400C5-3C71-403D-A3F7-A72A2DC6B2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7C565F2-A97C-4D1C-B361-C1965B18C5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55EE17D-1896-47AD-BB48-D8C0ED3F68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412EFA0-147A-4E69-B49B-5BC86E6FF8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042F608-4E83-438B-A61D-B9372CC1EC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B7AA4C3-F381-4344-A77B-488C58BCEE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1CDDD49-C41D-4648-AE13-FB02869059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31E3F56-8AF7-4297-BAEB-8666B56E37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3</c:v>
                </c:pt>
                <c:pt idx="1">
                  <c:v>7.0000000000000007E-2</c:v>
                </c:pt>
              </c:numCache>
            </c:numRef>
          </c:xVal>
          <c:yVal>
            <c:numRef>
              <c:f>Sheet1!$B$2:$B$3</c:f>
              <c:numCache>
                <c:formatCode>General</c:formatCode>
                <c:ptCount val="2"/>
                <c:pt idx="0">
                  <c:v>6680.8461538461543</c:v>
                </c:pt>
                <c:pt idx="1">
                  <c:v>5990.2857142857138</c:v>
                </c:pt>
              </c:numCache>
            </c:numRef>
          </c:yVal>
          <c:bubbleSize>
            <c:numRef>
              <c:f>Sheet1!$C$2:$C$3</c:f>
              <c:numCache>
                <c:formatCode>General</c:formatCode>
                <c:ptCount val="2"/>
                <c:pt idx="0">
                  <c:v>55007.155300000013</c:v>
                </c:pt>
                <c:pt idx="1">
                  <c:v>27404.931199999999</c:v>
                </c:pt>
              </c:numCache>
            </c:numRef>
          </c:bubbleSize>
          <c:bubble3D val="0"/>
          <c:extLst>
            <c:ext xmlns:c15="http://schemas.microsoft.com/office/drawing/2012/chart" uri="{02D57815-91ED-43cb-92C2-25804820EDAC}">
              <c15:datalabelsRange>
                <c15:f>Sheet1!$E$2:$E$21</c15:f>
                <c15:dlblRangeCache>
                  <c:ptCount val="20"/>
                  <c:pt idx="0">
                    <c:v>CREMO 5 BLADE RAZOR NORMAL 2CT</c:v>
                  </c:pt>
                  <c:pt idx="1">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8393BF8-8C4E-4214-9733-D7FCFF2393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A75BD61-36D9-45B0-B791-F1CDC20D03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9CE1BCC-1EE0-4F18-9F8E-C13F74750E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359FB3A-A041-42AE-A835-7A0741ADA7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1929DF6-424E-4CF2-B63F-7DA2F4C6F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8778ADB-48BB-44C5-85D0-D783A6495EC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E9405C0-E5ED-4F24-94D8-816323F0C4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3CF97CC-D46B-449B-8D58-03DC4A0AF5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928E07F-2F10-4F9A-B8DD-994534D0A4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9EE2CCF-244C-4390-B226-8B63113B32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75900000000000001</c:v>
                </c:pt>
                <c:pt idx="1">
                  <c:v>0.89600000000000002</c:v>
                </c:pt>
                <c:pt idx="2">
                  <c:v>0.93899999999999995</c:v>
                </c:pt>
                <c:pt idx="3">
                  <c:v>0.70099999999999996</c:v>
                </c:pt>
                <c:pt idx="4">
                  <c:v>0.63400000000000001</c:v>
                </c:pt>
                <c:pt idx="5">
                  <c:v>0.95</c:v>
                </c:pt>
                <c:pt idx="6">
                  <c:v>0.84399999999999997</c:v>
                </c:pt>
                <c:pt idx="7">
                  <c:v>0.85699999999999998</c:v>
                </c:pt>
              </c:numCache>
            </c:numRef>
          </c:xVal>
          <c:yVal>
            <c:numRef>
              <c:f>Sheet1!$B$2:$B$9</c:f>
              <c:numCache>
                <c:formatCode>General</c:formatCode>
                <c:ptCount val="8"/>
                <c:pt idx="0">
                  <c:v>14944.044795783921</c:v>
                </c:pt>
                <c:pt idx="1">
                  <c:v>6009.7767857142853</c:v>
                </c:pt>
                <c:pt idx="2">
                  <c:v>52579.062832800853</c:v>
                </c:pt>
                <c:pt idx="3">
                  <c:v>42879.101283880183</c:v>
                </c:pt>
                <c:pt idx="4">
                  <c:v>7261.4353312302837</c:v>
                </c:pt>
                <c:pt idx="5">
                  <c:v>42642.536842105263</c:v>
                </c:pt>
                <c:pt idx="6">
                  <c:v>6803.5545023696686</c:v>
                </c:pt>
                <c:pt idx="7">
                  <c:v>51342.777129521593</c:v>
                </c:pt>
              </c:numCache>
            </c:numRef>
          </c:yVal>
          <c:bubbleSize>
            <c:numRef>
              <c:f>Sheet1!$C$2:$C$9</c:f>
              <c:numCache>
                <c:formatCode>General</c:formatCode>
                <c:ptCount val="8"/>
                <c:pt idx="0">
                  <c:v>838701.68579999998</c:v>
                </c:pt>
                <c:pt idx="1">
                  <c:v>350237.70730000013</c:v>
                </c:pt>
                <c:pt idx="2">
                  <c:v>3200726.89</c:v>
                </c:pt>
                <c:pt idx="3">
                  <c:v>1920827.2086</c:v>
                </c:pt>
                <c:pt idx="4">
                  <c:v>301018.2378</c:v>
                </c:pt>
                <c:pt idx="5">
                  <c:v>2551270.2801999999</c:v>
                </c:pt>
                <c:pt idx="6">
                  <c:v>390839.13900000002</c:v>
                </c:pt>
                <c:pt idx="7">
                  <c:v>3101731.2096000011</c:v>
                </c:pt>
              </c:numCache>
            </c:numRef>
          </c:bubbleSize>
          <c:bubble3D val="0"/>
          <c:extLst>
            <c:ext xmlns:c15="http://schemas.microsoft.com/office/drawing/2012/chart" uri="{02D57815-91ED-43cb-92C2-25804820EDAC}">
              <c15:datalabelsRange>
                <c15:f>Sheet1!$E$2:$E$21</c15:f>
                <c15:dlblRangeCache>
                  <c:ptCount val="20"/>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93200D3-9ECC-4C6B-B9F6-F5F1B7537B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2F977CE-2A62-4A00-AABD-0C7EE821F64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109563F-0694-424E-ACB3-904E272A64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10CF995-319D-4ED9-A803-5FE98ADD2A2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3CDDBFD-E2B0-4488-977B-00CD209B6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A9C21A7-B08F-437C-9BB9-E3AC0BA920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25020F5-3B4E-4333-810C-4013AAE31C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F98E9C1-B127-4374-9054-38634403B3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6A20417-CE01-41FD-BC69-5F97A59E1C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D586533-774D-4872-AEE6-7C74F1FE18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3799999999999994</c:v>
                </c:pt>
                <c:pt idx="1">
                  <c:v>0.98499999999999999</c:v>
                </c:pt>
                <c:pt idx="2">
                  <c:v>0.95899999999999996</c:v>
                </c:pt>
                <c:pt idx="3">
                  <c:v>0.91100000000000003</c:v>
                </c:pt>
                <c:pt idx="4">
                  <c:v>0.97799999999999998</c:v>
                </c:pt>
                <c:pt idx="5">
                  <c:v>0.98799999999999999</c:v>
                </c:pt>
              </c:numCache>
            </c:numRef>
          </c:xVal>
          <c:yVal>
            <c:numRef>
              <c:f>Sheet1!$B$2:$B$7</c:f>
              <c:numCache>
                <c:formatCode>General</c:formatCode>
                <c:ptCount val="6"/>
                <c:pt idx="0">
                  <c:v>34693.635394456287</c:v>
                </c:pt>
                <c:pt idx="1">
                  <c:v>88856.375634517768</c:v>
                </c:pt>
                <c:pt idx="2">
                  <c:v>37190.417101147032</c:v>
                </c:pt>
                <c:pt idx="3">
                  <c:v>39700.241492864981</c:v>
                </c:pt>
                <c:pt idx="4">
                  <c:v>17923.486707566459</c:v>
                </c:pt>
                <c:pt idx="5">
                  <c:v>38983.218623481793</c:v>
                </c:pt>
              </c:numCache>
            </c:numRef>
          </c:yVal>
          <c:bubbleSize>
            <c:numRef>
              <c:f>Sheet1!$C$2:$C$7</c:f>
              <c:numCache>
                <c:formatCode>General</c:formatCode>
                <c:ptCount val="6"/>
                <c:pt idx="0">
                  <c:v>1798622.3696000001</c:v>
                </c:pt>
                <c:pt idx="1">
                  <c:v>4518773.5040000007</c:v>
                </c:pt>
                <c:pt idx="2">
                  <c:v>1614221.3448999999</c:v>
                </c:pt>
                <c:pt idx="3">
                  <c:v>1997336.7135999999</c:v>
                </c:pt>
                <c:pt idx="4">
                  <c:v>1228819.4014000001</c:v>
                </c:pt>
                <c:pt idx="5">
                  <c:v>2298580.1269999999</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1AEC10-322F-44BA-8057-8A49A3382B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8B06D2A-6CFD-4263-A69A-F77B09BEBB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E01BCB9-BBE7-4056-AA63-53289E74ED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E485AB4-DA04-4B33-882F-2CEEE607DF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EB495D8-5CF6-44E4-9223-13A7D56BA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DD617BF-9446-4B91-88A3-00DBAC0A09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E89A5DE-0003-45AE-ACEA-BB7A33B43A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8C64088-37D2-4878-8910-67E33EA81F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7007449-609C-4105-8F0F-9E65932DF1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6C6B3F2-9DA8-4C15-970F-67EBA12E7E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04</c:v>
                </c:pt>
                <c:pt idx="1">
                  <c:v>0.88</c:v>
                </c:pt>
                <c:pt idx="2">
                  <c:v>0.94</c:v>
                </c:pt>
                <c:pt idx="3">
                  <c:v>0.68</c:v>
                </c:pt>
                <c:pt idx="4">
                  <c:v>0.64</c:v>
                </c:pt>
                <c:pt idx="5">
                  <c:v>0.95</c:v>
                </c:pt>
                <c:pt idx="6">
                  <c:v>0.84</c:v>
                </c:pt>
                <c:pt idx="7">
                  <c:v>0.87</c:v>
                </c:pt>
              </c:numCache>
            </c:numRef>
          </c:xVal>
          <c:yVal>
            <c:numRef>
              <c:f>Sheet1!$B$2:$B$9</c:f>
              <c:numCache>
                <c:formatCode>General</c:formatCode>
                <c:ptCount val="8"/>
                <c:pt idx="0">
                  <c:v>874</c:v>
                </c:pt>
                <c:pt idx="1">
                  <c:v>413.27272727272731</c:v>
                </c:pt>
                <c:pt idx="2">
                  <c:v>4372</c:v>
                </c:pt>
                <c:pt idx="3">
                  <c:v>3373.205882352941</c:v>
                </c:pt>
                <c:pt idx="4">
                  <c:v>574.65625</c:v>
                </c:pt>
                <c:pt idx="5">
                  <c:v>3032.8736842105259</c:v>
                </c:pt>
                <c:pt idx="6">
                  <c:v>506.07142857142861</c:v>
                </c:pt>
                <c:pt idx="7">
                  <c:v>3945.977011494253</c:v>
                </c:pt>
              </c:numCache>
            </c:numRef>
          </c:yVal>
          <c:bubbleSize>
            <c:numRef>
              <c:f>Sheet1!$C$2:$C$9</c:f>
              <c:numCache>
                <c:formatCode>General</c:formatCode>
                <c:ptCount val="8"/>
                <c:pt idx="0">
                  <c:v>2412.9196000000002</c:v>
                </c:pt>
                <c:pt idx="1">
                  <c:v>23392.570500000002</c:v>
                </c:pt>
                <c:pt idx="2">
                  <c:v>263862.60159999999</c:v>
                </c:pt>
                <c:pt idx="3">
                  <c:v>144963.85519999999</c:v>
                </c:pt>
                <c:pt idx="4">
                  <c:v>23760.718799999999</c:v>
                </c:pt>
                <c:pt idx="5">
                  <c:v>180016.2997</c:v>
                </c:pt>
                <c:pt idx="6">
                  <c:v>28611.328399999999</c:v>
                </c:pt>
                <c:pt idx="7">
                  <c:v>239980.5024</c:v>
                </c:pt>
              </c:numCache>
            </c:numRef>
          </c:bubbleSize>
          <c:bubble3D val="0"/>
          <c:extLst>
            <c:ext xmlns:c15="http://schemas.microsoft.com/office/drawing/2012/chart" uri="{02D57815-91ED-43cb-92C2-25804820EDAC}">
              <c15:datalabelsRange>
                <c15:f>Sheet1!$E$2:$E$21</c15:f>
                <c15:dlblRangeCache>
                  <c:ptCount val="20"/>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9860564-0734-4B48-8A6C-D58BDA1B1F1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58D5207-7D91-4C19-9A8E-C702DEE8A0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79F0A0A-48CB-45BC-9860-4949E9FAA5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0D3A16B-7C4E-4E07-9530-C862EA46D3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23D8D75-1530-41B2-9D23-D028804B8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0EB947A-B495-476F-B652-1B6928B9BD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47B9A80-3B8E-452D-81CE-583A171E69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61AF349-C5D7-421E-AC39-121C65C9DEE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CC43442-B933-40A6-A063-CEF55489F9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963B43B-A8DA-4D1B-8076-7AC1702D09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5</c:v>
                </c:pt>
                <c:pt idx="1">
                  <c:v>0.98</c:v>
                </c:pt>
                <c:pt idx="2">
                  <c:v>0.94</c:v>
                </c:pt>
                <c:pt idx="3">
                  <c:v>0.9</c:v>
                </c:pt>
                <c:pt idx="4">
                  <c:v>0.97</c:v>
                </c:pt>
                <c:pt idx="5">
                  <c:v>0.99</c:v>
                </c:pt>
              </c:numCache>
            </c:numRef>
          </c:xVal>
          <c:yVal>
            <c:numRef>
              <c:f>Sheet1!$B$2:$B$7</c:f>
              <c:numCache>
                <c:formatCode>General</c:formatCode>
                <c:ptCount val="6"/>
                <c:pt idx="0">
                  <c:v>2490.9578947368418</c:v>
                </c:pt>
                <c:pt idx="1">
                  <c:v>6191.2653061224491</c:v>
                </c:pt>
                <c:pt idx="2">
                  <c:v>2380.0744680851062</c:v>
                </c:pt>
                <c:pt idx="3">
                  <c:v>2854.1777777777779</c:v>
                </c:pt>
                <c:pt idx="4">
                  <c:v>1268.855670103093</c:v>
                </c:pt>
                <c:pt idx="5">
                  <c:v>3147.9191919191921</c:v>
                </c:pt>
              </c:numCache>
            </c:numRef>
          </c:yVal>
          <c:bubbleSize>
            <c:numRef>
              <c:f>Sheet1!$C$2:$C$7</c:f>
              <c:numCache>
                <c:formatCode>General</c:formatCode>
                <c:ptCount val="6"/>
                <c:pt idx="0">
                  <c:v>129385.6139</c:v>
                </c:pt>
                <c:pt idx="1">
                  <c:v>310226.51689999999</c:v>
                </c:pt>
                <c:pt idx="2">
                  <c:v>100468.05989999999</c:v>
                </c:pt>
                <c:pt idx="3">
                  <c:v>141820.57579999999</c:v>
                </c:pt>
                <c:pt idx="4">
                  <c:v>85078.340200000021</c:v>
                </c:pt>
                <c:pt idx="5">
                  <c:v>185958.43340000001</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2DEAEEF-C098-4565-9D54-1E7A96C4A9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923FEF1-A704-4E42-8203-906B6BF84C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98D6728-81A4-4020-9003-93C7777E78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0A08A18-6F01-4474-B03D-72E168361D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03AA40E-D7BB-4BAE-B15C-32BEF433C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7A4DC42-DFCB-4606-A60B-529CBE5599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3101E41-5DE6-451F-8B9E-F274288E6B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A854025-91A8-41BA-A1FF-1E57AA3FD3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0EA80B2-5B2D-4233-BF95-E295580863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4358017-8B75-4C95-97D2-B877EE601E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71</c:v>
                </c:pt>
                <c:pt idx="1">
                  <c:v>0.77</c:v>
                </c:pt>
                <c:pt idx="2">
                  <c:v>0.3</c:v>
                </c:pt>
                <c:pt idx="3">
                  <c:v>0.24</c:v>
                </c:pt>
                <c:pt idx="4">
                  <c:v>0.81</c:v>
                </c:pt>
                <c:pt idx="5">
                  <c:v>0.61</c:v>
                </c:pt>
                <c:pt idx="6">
                  <c:v>0.65</c:v>
                </c:pt>
              </c:numCache>
            </c:numRef>
          </c:xVal>
          <c:yVal>
            <c:numRef>
              <c:f>Sheet1!$B$2:$B$8</c:f>
              <c:numCache>
                <c:formatCode>General</c:formatCode>
                <c:ptCount val="7"/>
                <c:pt idx="0">
                  <c:v>536.43661971830988</c:v>
                </c:pt>
                <c:pt idx="1">
                  <c:v>4400.727272727273</c:v>
                </c:pt>
                <c:pt idx="2">
                  <c:v>4859.9333333333334</c:v>
                </c:pt>
                <c:pt idx="3">
                  <c:v>743.54166666666663</c:v>
                </c:pt>
                <c:pt idx="4">
                  <c:v>3557.6049382716051</c:v>
                </c:pt>
                <c:pt idx="5">
                  <c:v>609.59016393442619</c:v>
                </c:pt>
                <c:pt idx="6">
                  <c:v>5031.3076923076924</c:v>
                </c:pt>
              </c:numCache>
            </c:numRef>
          </c:yVal>
          <c:bubbleSize>
            <c:numRef>
              <c:f>Sheet1!$C$2:$C$8</c:f>
              <c:numCache>
                <c:formatCode>General</c:formatCode>
                <c:ptCount val="7"/>
                <c:pt idx="0">
                  <c:v>24732.3076</c:v>
                </c:pt>
                <c:pt idx="1">
                  <c:v>219178.04300000001</c:v>
                </c:pt>
                <c:pt idx="2">
                  <c:v>93532.547699999996</c:v>
                </c:pt>
                <c:pt idx="3">
                  <c:v>11674.0008</c:v>
                </c:pt>
                <c:pt idx="4">
                  <c:v>181395.77009999999</c:v>
                </c:pt>
                <c:pt idx="5">
                  <c:v>25231.624599999999</c:v>
                </c:pt>
                <c:pt idx="6">
                  <c:v>230309.52960000001</c:v>
                </c:pt>
              </c:numCache>
            </c:numRef>
          </c:bubbleSize>
          <c:bubble3D val="0"/>
          <c:extLst>
            <c:ext xmlns:c15="http://schemas.microsoft.com/office/drawing/2012/chart" uri="{02D57815-91ED-43cb-92C2-25804820EDAC}">
              <c15:datalabelsRange>
                <c15:f>Sheet1!$E$2:$E$21</c15:f>
                <c15:dlblRangeCache>
                  <c:ptCount val="20"/>
                  <c:pt idx="0">
                    <c:v>SCHICK XTREME 3 SENSITIVE GREEN BLACK 3 BLADE DISPOSABLE SENSITIVE 4CT</c:v>
                  </c:pt>
                  <c:pt idx="1">
                    <c:v>SCHICK XTREME 2 SENSITIVE 2 BLADE DISPOSABLE NORMAL 12CT</c:v>
                  </c:pt>
                  <c:pt idx="2">
                    <c:v>SCHICK XTREME 3 SENSITIVE BLACK GREEN 3 BLADE DISPOSABLE SENSITIVE 12CT</c:v>
                  </c:pt>
                  <c:pt idx="3">
                    <c:v>SCHICK XTREME 3 SENSITIVE GREEN BLACK 3 BLADE DISPOSABLE SENSITIVE 12CT</c:v>
                  </c:pt>
                  <c:pt idx="4">
                    <c:v>SCHICK XTREME 3 SENSITIVE BLACK 3 BLADE DISPOSABLE SENSITIVE 4CT</c:v>
                  </c:pt>
                  <c:pt idx="5">
                    <c:v>SCHICK XTREME 3 SENSITIVE GREEN BLACK 3 BLADE DISPOSABLE SENSITIVE 8CT</c:v>
                  </c:pt>
                  <c:pt idx="6">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78A641C-D7BB-44E3-9C5A-59D26821E7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4F6877E-D133-47F6-B6FF-B6B47D8FE2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47868AF-14E1-4C65-8A4F-79F855F22B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A8FD30B-CBC5-4327-91D1-4E2F78A6AF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67102C2-22E7-408E-B570-FB3CBA19A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9CCCABF-7970-4262-9B5A-998629944C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9B2A2CB-06BA-400E-95FE-D52D9A0E88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B85D22E-DB2D-49E2-AEC7-8BA7E9C691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96981DA-2E64-4FC3-B34D-2DCB7EA1AE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0CD6598-29F4-4D78-93D1-04AFCE0F51D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74</c:v>
                </c:pt>
                <c:pt idx="1">
                  <c:v>0.91</c:v>
                </c:pt>
                <c:pt idx="2">
                  <c:v>0.82</c:v>
                </c:pt>
                <c:pt idx="3">
                  <c:v>0.65</c:v>
                </c:pt>
                <c:pt idx="4">
                  <c:v>0.95</c:v>
                </c:pt>
                <c:pt idx="5">
                  <c:v>0.95</c:v>
                </c:pt>
              </c:numCache>
            </c:numRef>
          </c:xVal>
          <c:yVal>
            <c:numRef>
              <c:f>Sheet1!$B$2:$B$7</c:f>
              <c:numCache>
                <c:formatCode>General</c:formatCode>
                <c:ptCount val="6"/>
                <c:pt idx="0">
                  <c:v>2923.9189189189192</c:v>
                </c:pt>
                <c:pt idx="1">
                  <c:v>5807.0109890109889</c:v>
                </c:pt>
                <c:pt idx="2">
                  <c:v>2862.6341463414628</c:v>
                </c:pt>
                <c:pt idx="3">
                  <c:v>3479.353846153846</c:v>
                </c:pt>
                <c:pt idx="4">
                  <c:v>1727.1789473684209</c:v>
                </c:pt>
                <c:pt idx="5">
                  <c:v>3081.3052631578948</c:v>
                </c:pt>
              </c:numCache>
            </c:numRef>
          </c:yVal>
          <c:bubbleSize>
            <c:numRef>
              <c:f>Sheet1!$C$2:$C$7</c:f>
              <c:numCache>
                <c:formatCode>General</c:formatCode>
                <c:ptCount val="6"/>
                <c:pt idx="0">
                  <c:v>119428.2879</c:v>
                </c:pt>
                <c:pt idx="1">
                  <c:v>272475.62770000001</c:v>
                </c:pt>
                <c:pt idx="2">
                  <c:v>106130.8149</c:v>
                </c:pt>
                <c:pt idx="3">
                  <c:v>125001.96189999999</c:v>
                </c:pt>
                <c:pt idx="4">
                  <c:v>114348.9244</c:v>
                </c:pt>
                <c:pt idx="5">
                  <c:v>174687.43780000001</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Equate</c:v>
                </c:pt>
                <c:pt idx="4">
                  <c:v>Dollar Shave Club</c:v>
                </c:pt>
                <c:pt idx="5">
                  <c:v>Van Der Hagen</c:v>
                </c:pt>
                <c:pt idx="6">
                  <c:v>Cremo</c:v>
                </c:pt>
                <c:pt idx="7">
                  <c:v>Others</c:v>
                </c:pt>
              </c:strCache>
            </c:strRef>
          </c:cat>
          <c:val>
            <c:numRef>
              <c:f>Sheet1!$B$2:$B$9</c:f>
              <c:numCache>
                <c:formatCode>General</c:formatCode>
                <c:ptCount val="8"/>
                <c:pt idx="0">
                  <c:v>0.65871033624482334</c:v>
                </c:pt>
                <c:pt idx="1">
                  <c:v>0.21478330524000885</c:v>
                </c:pt>
                <c:pt idx="2">
                  <c:v>4.1854895900275232E-2</c:v>
                </c:pt>
                <c:pt idx="3">
                  <c:v>3.7673563884695019E-2</c:v>
                </c:pt>
                <c:pt idx="4">
                  <c:v>3.2889977513461635E-2</c:v>
                </c:pt>
                <c:pt idx="5">
                  <c:v>1.3991703065241055E-2</c:v>
                </c:pt>
                <c:pt idx="6">
                  <c:v>9.5188656869837438E-5</c:v>
                </c:pt>
                <c:pt idx="7">
                  <c:v>1.0294946250481586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Equate</c:v>
                </c:pt>
                <c:pt idx="4">
                  <c:v>Dollar Shave Club</c:v>
                </c:pt>
                <c:pt idx="5">
                  <c:v>Van Der Hagen</c:v>
                </c:pt>
                <c:pt idx="6">
                  <c:v>Cremo</c:v>
                </c:pt>
                <c:pt idx="7">
                  <c:v>Others</c:v>
                </c:pt>
              </c:strCache>
            </c:strRef>
          </c:cat>
          <c:val>
            <c:numRef>
              <c:f>Sheet1!$C$2:$C$9</c:f>
              <c:numCache>
                <c:formatCode>General</c:formatCode>
                <c:ptCount val="8"/>
                <c:pt idx="0">
                  <c:v>0.56864864864864884</c:v>
                </c:pt>
                <c:pt idx="1">
                  <c:v>0.14216216216216215</c:v>
                </c:pt>
                <c:pt idx="2">
                  <c:v>6.2162162162162173E-2</c:v>
                </c:pt>
                <c:pt idx="3">
                  <c:v>0.11027027027027027</c:v>
                </c:pt>
                <c:pt idx="4">
                  <c:v>7.1351351351351344E-2</c:v>
                </c:pt>
                <c:pt idx="5">
                  <c:v>4.3243243243243246E-2</c:v>
                </c:pt>
                <c:pt idx="6">
                  <c:v>2.1621621621621622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Equate</c:v>
                </c:pt>
                <c:pt idx="4">
                  <c:v>Dollar Shave Club</c:v>
                </c:pt>
                <c:pt idx="5">
                  <c:v>Van Der Hagen</c:v>
                </c:pt>
                <c:pt idx="6">
                  <c:v>Cremo</c:v>
                </c:pt>
                <c:pt idx="7">
                  <c:v>Others</c:v>
                </c:pt>
              </c:strCache>
            </c:strRef>
          </c:cat>
          <c:val>
            <c:numRef>
              <c:f>Sheet1!$D$2:$D$9</c:f>
              <c:numCache>
                <c:formatCode>General</c:formatCode>
                <c:ptCount val="8"/>
                <c:pt idx="0">
                  <c:v>0.86327573344362818</c:v>
                </c:pt>
                <c:pt idx="1">
                  <c:v>0.66188646274580576</c:v>
                </c:pt>
                <c:pt idx="2">
                  <c:v>1.4851825772132288</c:v>
                </c:pt>
                <c:pt idx="3">
                  <c:v>2.9269933316573709</c:v>
                </c:pt>
                <c:pt idx="4">
                  <c:v>2.1693949569332402</c:v>
                </c:pt>
                <c:pt idx="5">
                  <c:v>3.0906347169895598</c:v>
                </c:pt>
                <c:pt idx="6">
                  <c:v>22.714493861582046</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C8DB6FF-BBA7-4D3C-AD4A-EBA22B4EEC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862175A-5890-4DAA-9498-3C37218866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CE892E3-8F1A-4C8F-A099-871AB26212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3DE44E2-5525-4FEE-9027-4E6FC8BD5C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C2310C3-AF02-412D-8F3D-882E87375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C4F9B7B-14F4-4161-AA84-428211AAEE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D7E3D06-199F-4A21-9055-53CBC6AFEF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D32279D-3664-4893-93DC-0E811148E1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F75FB4A-B60F-4E11-AE60-E9B13DED14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74FF1BB-5441-4CB8-87A7-2E5F043455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87</c:v>
                </c:pt>
                <c:pt idx="1">
                  <c:v>0.91</c:v>
                </c:pt>
                <c:pt idx="2">
                  <c:v>0.95</c:v>
                </c:pt>
                <c:pt idx="3">
                  <c:v>0.73</c:v>
                </c:pt>
                <c:pt idx="4">
                  <c:v>0.66</c:v>
                </c:pt>
                <c:pt idx="5">
                  <c:v>0.96</c:v>
                </c:pt>
                <c:pt idx="6">
                  <c:v>0.86</c:v>
                </c:pt>
                <c:pt idx="7">
                  <c:v>0.87</c:v>
                </c:pt>
              </c:numCache>
            </c:numRef>
          </c:xVal>
          <c:yVal>
            <c:numRef>
              <c:f>Sheet1!$B$2:$B$9</c:f>
              <c:numCache>
                <c:formatCode>General</c:formatCode>
                <c:ptCount val="8"/>
                <c:pt idx="0">
                  <c:v>12997.022988505751</c:v>
                </c:pt>
                <c:pt idx="1">
                  <c:v>5099.131868131868</c:v>
                </c:pt>
                <c:pt idx="2">
                  <c:v>44077.368421052633</c:v>
                </c:pt>
                <c:pt idx="3">
                  <c:v>36036.28767123288</c:v>
                </c:pt>
                <c:pt idx="4">
                  <c:v>6147.757575757576</c:v>
                </c:pt>
                <c:pt idx="5">
                  <c:v>36195.333333333343</c:v>
                </c:pt>
                <c:pt idx="6">
                  <c:v>5750.2906976744189</c:v>
                </c:pt>
                <c:pt idx="7">
                  <c:v>42870.586206896551</c:v>
                </c:pt>
              </c:numCache>
            </c:numRef>
          </c:yVal>
          <c:bubbleSize>
            <c:numRef>
              <c:f>Sheet1!$C$2:$C$9</c:f>
              <c:numCache>
                <c:formatCode>General</c:formatCode>
                <c:ptCount val="8"/>
                <c:pt idx="0">
                  <c:v>836275.50840000005</c:v>
                </c:pt>
                <c:pt idx="1">
                  <c:v>302112.82919999998</c:v>
                </c:pt>
                <c:pt idx="2">
                  <c:v>2717686.2453999999</c:v>
                </c:pt>
                <c:pt idx="3">
                  <c:v>1682330.8056999999</c:v>
                </c:pt>
                <c:pt idx="4">
                  <c:v>265583.51819999999</c:v>
                </c:pt>
                <c:pt idx="5">
                  <c:v>2189858.2104000002</c:v>
                </c:pt>
                <c:pt idx="6">
                  <c:v>336996.18599999999</c:v>
                </c:pt>
                <c:pt idx="7">
                  <c:v>2631441.1776000001</c:v>
                </c:pt>
              </c:numCache>
            </c:numRef>
          </c:bubbleSize>
          <c:bubble3D val="0"/>
          <c:extLst>
            <c:ext xmlns:c15="http://schemas.microsoft.com/office/drawing/2012/chart" uri="{02D57815-91ED-43cb-92C2-25804820EDAC}">
              <c15:datalabelsRange>
                <c15:f>Sheet1!$E$2:$E$21</c15:f>
                <c15:dlblRangeCache>
                  <c:ptCount val="20"/>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A601CF6-F259-4A49-A51D-A7B2F175F8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B3AB7BF-FB09-44EA-8013-935CB8C08E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FE29B11-D43A-4B1D-9D8C-657A8292CA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A318A4C-BCDF-42CB-A6D4-1EE46899AD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DAE27AD-58CB-49B5-9817-1416EB4DE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FB009E2-AF67-49A4-AD4A-DC55005CD8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741568D-D7CC-41D5-91F1-DFE3AA1FDE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A610735-05AC-464D-B82D-4F33ADBD8C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23E1076-3A6C-48E2-904B-670F5EEDBE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780DC7A-40CD-471C-A724-12A1CAA5D3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5</c:v>
                </c:pt>
                <c:pt idx="1">
                  <c:v>0.99</c:v>
                </c:pt>
                <c:pt idx="2">
                  <c:v>0.97</c:v>
                </c:pt>
                <c:pt idx="3">
                  <c:v>0.93</c:v>
                </c:pt>
                <c:pt idx="4">
                  <c:v>0.98</c:v>
                </c:pt>
                <c:pt idx="5">
                  <c:v>0.99</c:v>
                </c:pt>
              </c:numCache>
            </c:numRef>
          </c:xVal>
          <c:yVal>
            <c:numRef>
              <c:f>Sheet1!$B$2:$B$7</c:f>
              <c:numCache>
                <c:formatCode>General</c:formatCode>
                <c:ptCount val="6"/>
                <c:pt idx="0">
                  <c:v>29486.863157894739</c:v>
                </c:pt>
                <c:pt idx="1">
                  <c:v>76941.121212121216</c:v>
                </c:pt>
                <c:pt idx="2">
                  <c:v>32042.247422680412</c:v>
                </c:pt>
                <c:pt idx="3">
                  <c:v>33695.247311827959</c:v>
                </c:pt>
                <c:pt idx="4">
                  <c:v>14956.693877551021</c:v>
                </c:pt>
                <c:pt idx="5">
                  <c:v>32799.737373737371</c:v>
                </c:pt>
              </c:numCache>
            </c:numRef>
          </c:yVal>
          <c:bubbleSize>
            <c:numRef>
              <c:f>Sheet1!$C$2:$C$7</c:f>
              <c:numCache>
                <c:formatCode>General</c:formatCode>
                <c:ptCount val="6"/>
                <c:pt idx="0">
                  <c:v>1549808.4678</c:v>
                </c:pt>
                <c:pt idx="1">
                  <c:v>3936071.3594</c:v>
                </c:pt>
                <c:pt idx="2">
                  <c:v>1407622.4701</c:v>
                </c:pt>
                <c:pt idx="3">
                  <c:v>1730514.1758999999</c:v>
                </c:pt>
                <c:pt idx="4">
                  <c:v>1029392.1368</c:v>
                </c:pt>
                <c:pt idx="5">
                  <c:v>1937934.2557999999</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D8BA434-221B-4506-BBA1-7B5EF42F06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65D65A5-8EDA-4AC5-A891-221E77942E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03941F2-99D1-4046-8931-AD66C02E73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8C6D744-8A7B-4A73-91ED-96040F1491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D68A5AC-60A3-414B-9BD1-4F0E00031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A999A0D-C08B-4478-A455-61FF3709AF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732FB4B-5A82-403C-912C-0BA404FCF2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B4C83FC-DE63-4F62-84E4-EA8F28288F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F2D3B3C-367C-4A36-83CB-628A6F4677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16893E8-26D2-468D-8AE0-C6E4988326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79300000000000004</c:v>
                </c:pt>
                <c:pt idx="1">
                  <c:v>0.85199999999999998</c:v>
                </c:pt>
                <c:pt idx="2">
                  <c:v>5.6000000000000001E-2</c:v>
                </c:pt>
              </c:numCache>
            </c:numRef>
          </c:xVal>
          <c:yVal>
            <c:numRef>
              <c:f>Sheet1!$B$2:$B$4</c:f>
              <c:numCache>
                <c:formatCode>General</c:formatCode>
                <c:ptCount val="3"/>
                <c:pt idx="0">
                  <c:v>17181.197982345519</c:v>
                </c:pt>
                <c:pt idx="1">
                  <c:v>48994.894366197179</c:v>
                </c:pt>
                <c:pt idx="2">
                  <c:v>21416.964285714279</c:v>
                </c:pt>
              </c:numCache>
            </c:numRef>
          </c:yVal>
          <c:bubbleSize>
            <c:numRef>
              <c:f>Sheet1!$C$2:$C$4</c:f>
              <c:numCache>
                <c:formatCode>General</c:formatCode>
                <c:ptCount val="3"/>
                <c:pt idx="0">
                  <c:v>1058631.9765999999</c:v>
                </c:pt>
                <c:pt idx="1">
                  <c:v>2538781.9904</c:v>
                </c:pt>
                <c:pt idx="2">
                  <c:v>75862.37519999998</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2D447CE-73B6-425C-94A1-ED4F1E11D1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F55D76C-5CC5-48EF-AA0C-525A772814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A7662AD-93A0-48ED-995D-B7633A47F8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E71978A-BB56-4741-B96E-88C23C5379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BFAEE62-E963-41D5-B259-CF1FCB333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4954DE6-4946-459D-842D-14F765B25B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4F7AFA0-5351-4E07-93BB-3EB256D16F5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BB9D7B6-6276-41DD-9A96-D37991A628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E9B95D6-C405-4D47-A7B7-38726F7712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FBAC91F-E7FD-4F43-9807-16F9C37DEF4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51</c:v>
                </c:pt>
              </c:numCache>
            </c:numRef>
          </c:xVal>
          <c:yVal>
            <c:numRef>
              <c:f>Sheet1!$B$2:$B$2</c:f>
              <c:numCache>
                <c:formatCode>General</c:formatCode>
                <c:ptCount val="1"/>
                <c:pt idx="0">
                  <c:v>31615.11318242344</c:v>
                </c:pt>
              </c:numCache>
            </c:numRef>
          </c:yVal>
          <c:bubbleSize>
            <c:numRef>
              <c:f>Sheet1!$C$2:$C$2</c:f>
              <c:numCache>
                <c:formatCode>General</c:formatCode>
                <c:ptCount val="1"/>
                <c:pt idx="0">
                  <c:v>1214691.3791</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83BF8BB-4BB2-43A7-80AB-B2C9BFF90F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8BAACBC-856B-41CC-B48B-4B4B61B8663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C0A6FA6-1B80-4CBE-A3FD-E95DDA88E8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4C37DF1-A21B-4220-A240-48E544C1D1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DE0E636-0544-491B-96FB-B94D1B0F2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FAE5A5D-0490-4329-A969-FCAF7A3691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18DF00D-6827-4E0F-BFFF-7F80F681C4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250304-7A88-410F-AED4-4D33F38D27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75C2920-4AEB-4581-8BFF-9AAF50860B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72BBE65-68B4-4F4B-9939-00CF35A666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11700000000000001</c:v>
                </c:pt>
              </c:numCache>
            </c:numRef>
          </c:xVal>
          <c:yVal>
            <c:numRef>
              <c:f>Sheet1!$B$2:$B$2</c:f>
              <c:numCache>
                <c:formatCode>General</c:formatCode>
                <c:ptCount val="1"/>
                <c:pt idx="0">
                  <c:v>7625.1282051282042</c:v>
                </c:pt>
              </c:numCache>
            </c:numRef>
          </c:yVal>
          <c:bubbleSize>
            <c:numRef>
              <c:f>Sheet1!$C$2:$C$2</c:f>
              <c:numCache>
                <c:formatCode>General</c:formatCode>
                <c:ptCount val="1"/>
                <c:pt idx="0">
                  <c:v>56493.237800000003</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4207F93-BFCE-48A8-A9D6-94AEFEA6AF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97AE3C7-0423-47A9-B251-12200D63DF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AB25037-9AA3-429F-B81F-E8EC8C1696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6546284-4F3D-4523-86B1-7C9E15B900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739167B-5B9C-422E-9545-4BEA4A9BD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092E3E9-2AE6-4F3B-92D1-DAF54510A2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DD3FDD2-B258-4089-8C53-5489642603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F948C32-3C6C-4F4D-8472-06F1D084FE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252171F-6E60-4315-8FFD-C9957FF20E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B7955A1-1D69-4919-AF59-8A09CF94BD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4</c:v>
                </c:pt>
                <c:pt idx="1">
                  <c:v>0.83</c:v>
                </c:pt>
                <c:pt idx="2">
                  <c:v>0.05</c:v>
                </c:pt>
              </c:numCache>
            </c:numRef>
          </c:xVal>
          <c:yVal>
            <c:numRef>
              <c:f>Sheet1!$B$2:$B$4</c:f>
              <c:numCache>
                <c:formatCode>General</c:formatCode>
                <c:ptCount val="3"/>
                <c:pt idx="0">
                  <c:v>1094.75</c:v>
                </c:pt>
                <c:pt idx="1">
                  <c:v>3435.0481927710839</c:v>
                </c:pt>
                <c:pt idx="2">
                  <c:v>999.2</c:v>
                </c:pt>
              </c:numCache>
            </c:numRef>
          </c:yVal>
          <c:bubbleSize>
            <c:numRef>
              <c:f>Sheet1!$C$2:$C$4</c:f>
              <c:numCache>
                <c:formatCode>General</c:formatCode>
                <c:ptCount val="3"/>
                <c:pt idx="0">
                  <c:v>3101.6833000000001</c:v>
                </c:pt>
                <c:pt idx="1">
                  <c:v>173389.4657</c:v>
                </c:pt>
                <c:pt idx="2">
                  <c:v>3205.0187999999998</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1A115AE-C065-4DF4-A429-1D33C4BBDF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6EC6995-344E-4855-A9F8-0AFABA2982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81462BF-14CB-4EE2-86E1-930D47AB3C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446546D-73BF-4912-A3E3-0E5BF18089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6C13934-9027-473C-AABD-132EABA60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AE46E80-22B1-4C57-8D10-989194E3AC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30143FC-3BF1-41D2-9328-F47FCDDDAE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FBD2151-90C2-41C9-A3E2-B3BEB6F98F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064D409-034A-4512-A0BB-E2C38CEC46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4F36F56-1C1A-4E67-BF27-769B40A330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c:v>
                </c:pt>
              </c:numCache>
            </c:numRef>
          </c:xVal>
          <c:yVal>
            <c:numRef>
              <c:f>Sheet1!$B$2:$B$2</c:f>
              <c:numCache>
                <c:formatCode>General</c:formatCode>
                <c:ptCount val="1"/>
                <c:pt idx="0">
                  <c:v>2192.542857142857</c:v>
                </c:pt>
              </c:numCache>
            </c:numRef>
          </c:yVal>
          <c:bubbleSize>
            <c:numRef>
              <c:f>Sheet1!$C$2:$C$2</c:f>
              <c:numCache>
                <c:formatCode>General</c:formatCode>
                <c:ptCount val="1"/>
                <c:pt idx="0">
                  <c:v>78650.092899999989</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4DC0579-6FC5-4908-984F-8015C3BDEC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559791A-0C33-436D-B061-C7A99A8FEA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5165CB2-A2FE-4F8A-ACA5-76DF952634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FC5C022-9F15-4FD2-89C9-E843C68CB7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AF25793-04D2-49E6-A4DC-C2BB5DB5F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982125D-04F9-4720-BDCD-611C76A544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AE4C39B-A883-4016-ACCD-CAE1F0C5F0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751A93D-2318-4956-8635-81B5C79BB4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30F6417-57F4-47EE-85D5-DFFECE3076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2A23877-546C-47D7-ACFD-733E81BA65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05</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2A685DA-3064-4D0A-B6B0-B56D55980C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1241BC1-ACB3-4D9D-B5F6-6BF6DF1790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3EC6DB4-6913-4168-87E2-5C91531D84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86BA8CB-1F9E-4819-B0DA-DBE00D45DE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8DE2C35-1CEA-43A0-9AE4-3AB2DE783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D3DCC3-C428-4F3C-840B-66A5837ABF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D34D617-92B4-418D-BF5F-63482F0C4C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D969F48-E6F1-43CF-BFF5-7D4E643DE0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5E357C1-F625-4A25-A898-A52E1A9F565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E3804E6-8F1E-49E6-B3D6-4CAD1531C2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61</c:v>
                </c:pt>
              </c:numCache>
            </c:numRef>
          </c:xVal>
          <c:yVal>
            <c:numRef>
              <c:f>Sheet1!$B$2:$B$2</c:f>
              <c:numCache>
                <c:formatCode>General</c:formatCode>
                <c:ptCount val="1"/>
                <c:pt idx="0">
                  <c:v>4743.377049180328</c:v>
                </c:pt>
              </c:numCache>
            </c:numRef>
          </c:yVal>
          <c:bubbleSize>
            <c:numRef>
              <c:f>Sheet1!$C$2:$C$2</c:f>
              <c:numCache>
                <c:formatCode>General</c:formatCode>
                <c:ptCount val="1"/>
                <c:pt idx="0">
                  <c:v>175947.76449999999</c:v>
                </c:pt>
              </c:numCache>
            </c:numRef>
          </c:bubbleSize>
          <c:bubble3D val="0"/>
          <c:extLst>
            <c:ext xmlns:c15="http://schemas.microsoft.com/office/drawing/2012/chart" uri="{02D57815-91ED-43cb-92C2-25804820EDAC}">
              <c15:datalabelsRange>
                <c15:f>Sheet1!$E$2:$E$21</c15:f>
                <c15:dlblRangeCache>
                  <c:ptCount val="20"/>
                  <c:pt idx="0">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FC71083-05EA-41C3-B201-A519CB7289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D3A4341-74A1-4E85-A446-B0AA671D4B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0C5E567-C3BD-4414-9D70-0B6F4DFEA3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8132C93-E816-4EA2-B6D2-0BFD4B3C68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D30DFD4-C009-479C-8CF2-D432BE7DD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247B0E6-E6FF-4416-B8CB-D254D6A2B3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CA0C326-74E0-4A72-A693-E390667F26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F18179A-9EA2-4D25-A76D-7FA76614D2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684E2ED-3737-4434-B0D1-DBDA9880E6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605EB04-BAD5-4DE6-BAFE-60DEAB6D3E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53</c:v>
                </c:pt>
              </c:numCache>
            </c:numRef>
          </c:xVal>
          <c:yVal>
            <c:numRef>
              <c:f>Sheet1!$B$2:$B$2</c:f>
              <c:numCache>
                <c:formatCode>General</c:formatCode>
                <c:ptCount val="1"/>
                <c:pt idx="0">
                  <c:v>3302.6981132075471</c:v>
                </c:pt>
              </c:numCache>
            </c:numRef>
          </c:yVal>
          <c:bubbleSize>
            <c:numRef>
              <c:f>Sheet1!$C$2:$C$2</c:f>
              <c:numCache>
                <c:formatCode>General</c:formatCode>
                <c:ptCount val="1"/>
                <c:pt idx="0">
                  <c:v>89489.170400000003</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Equate</c:v>
                </c:pt>
                <c:pt idx="3">
                  <c:v>Dollar Shave Club</c:v>
                </c:pt>
                <c:pt idx="4">
                  <c:v>Schick</c:v>
                </c:pt>
                <c:pt idx="5">
                  <c:v>Cremo</c:v>
                </c:pt>
                <c:pt idx="6">
                  <c:v>Others</c:v>
                </c:pt>
              </c:strCache>
            </c:strRef>
          </c:cat>
          <c:val>
            <c:numRef>
              <c:f>Sheet1!$B$2:$B$8</c:f>
              <c:numCache>
                <c:formatCode>General</c:formatCode>
                <c:ptCount val="7"/>
                <c:pt idx="0">
                  <c:v>0.62568502670852777</c:v>
                </c:pt>
                <c:pt idx="1">
                  <c:v>0.24117258792104182</c:v>
                </c:pt>
                <c:pt idx="2">
                  <c:v>4.8878093988261435E-2</c:v>
                </c:pt>
                <c:pt idx="3">
                  <c:v>4.3446221986879467E-2</c:v>
                </c:pt>
                <c:pt idx="4">
                  <c:v>3.9975640468725468E-2</c:v>
                </c:pt>
                <c:pt idx="5">
                  <c:v>6.6141515998562787E-6</c:v>
                </c:pt>
                <c:pt idx="6">
                  <c:v>8.3581477496419117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Equate</c:v>
                </c:pt>
                <c:pt idx="3">
                  <c:v>Dollar Shave Club</c:v>
                </c:pt>
                <c:pt idx="4">
                  <c:v>Schick</c:v>
                </c:pt>
                <c:pt idx="5">
                  <c:v>Cremo</c:v>
                </c:pt>
                <c:pt idx="6">
                  <c:v>Others</c:v>
                </c:pt>
              </c:strCache>
            </c:strRef>
          </c:cat>
          <c:val>
            <c:numRef>
              <c:f>Sheet1!$C$2:$C$8</c:f>
              <c:numCache>
                <c:formatCode>General</c:formatCode>
                <c:ptCount val="7"/>
                <c:pt idx="0">
                  <c:v>0.53740875912408748</c:v>
                </c:pt>
                <c:pt idx="1">
                  <c:v>0.18521897810218974</c:v>
                </c:pt>
                <c:pt idx="2">
                  <c:v>0.13321167883211676</c:v>
                </c:pt>
                <c:pt idx="3">
                  <c:v>8.0291970802919707E-2</c:v>
                </c:pt>
                <c:pt idx="4">
                  <c:v>5.2007299270072992E-2</c:v>
                </c:pt>
                <c:pt idx="5">
                  <c:v>0</c:v>
                </c:pt>
                <c:pt idx="6">
                  <c:v>1.186131386861313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Equate</c:v>
                </c:pt>
                <c:pt idx="3">
                  <c:v>Dollar Shave Club</c:v>
                </c:pt>
                <c:pt idx="4">
                  <c:v>Schick</c:v>
                </c:pt>
                <c:pt idx="5">
                  <c:v>Cremo</c:v>
                </c:pt>
                <c:pt idx="6">
                  <c:v>Others</c:v>
                </c:pt>
              </c:strCache>
            </c:strRef>
          </c:cat>
          <c:val>
            <c:numRef>
              <c:f>Sheet1!$D$2:$D$8</c:f>
              <c:numCache>
                <c:formatCode>General</c:formatCode>
                <c:ptCount val="7"/>
                <c:pt idx="0">
                  <c:v>0.85891260967387129</c:v>
                </c:pt>
                <c:pt idx="1">
                  <c:v>0.76799349253916493</c:v>
                </c:pt>
                <c:pt idx="2">
                  <c:v>2.7253861180452104</c:v>
                </c:pt>
                <c:pt idx="3">
                  <c:v>1.8480771660000141</c:v>
                </c:pt>
                <c:pt idx="4">
                  <c:v>1.3009747601357473</c:v>
                </c:pt>
                <c:pt idx="5">
                  <c:v>0</c:v>
                </c:pt>
                <c:pt idx="6">
                  <c:v>14.19131872743134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C23B411-1CEB-40F5-AF66-1A660500D3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30CCDF8-49ED-4FA8-A14D-E8C648682E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36F4062-6CC8-45CF-81EC-F77F784576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A31076E-EABE-4DEC-840E-E3A2CF1541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DC542AC-CDF2-42B6-BE97-C663DD12C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0704AAF-B9DF-4622-9B40-46F35C8A4C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0442B82-1437-4F79-AC87-D467B36895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CABBCFC-B1B0-4F5A-9C0F-7E26D22581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8739812-D4C3-4A7E-95C0-DC5E0193DC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A601AE7-AEDA-4362-A631-64682A0C07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91</c:v>
                </c:pt>
                <c:pt idx="1">
                  <c:v>0.87</c:v>
                </c:pt>
                <c:pt idx="2">
                  <c:v>0.06</c:v>
                </c:pt>
              </c:numCache>
            </c:numRef>
          </c:xVal>
          <c:yVal>
            <c:numRef>
              <c:f>Sheet1!$B$2:$B$4</c:f>
              <c:numCache>
                <c:formatCode>General</c:formatCode>
                <c:ptCount val="3"/>
                <c:pt idx="0">
                  <c:v>14923.912087912089</c:v>
                </c:pt>
                <c:pt idx="1">
                  <c:v>41378.275862068956</c:v>
                </c:pt>
                <c:pt idx="2">
                  <c:v>19149.166666666672</c:v>
                </c:pt>
              </c:numCache>
            </c:numRef>
          </c:yVal>
          <c:bubbleSize>
            <c:numRef>
              <c:f>Sheet1!$C$2:$C$4</c:f>
              <c:numCache>
                <c:formatCode>General</c:formatCode>
                <c:ptCount val="3"/>
                <c:pt idx="0">
                  <c:v>1055523.5941999999</c:v>
                </c:pt>
                <c:pt idx="1">
                  <c:v>2189444.7601999999</c:v>
                </c:pt>
                <c:pt idx="2">
                  <c:v>72621.147599999997</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824BAED-502C-456B-82CF-32CBD3799A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FB69F20-63E0-4C6B-B34B-70B5A4D6E5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EA3E7E1-1A55-4E0D-8122-C6B8313D01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917F1DD-D278-49A8-B329-BC7CB4BBE1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78D8741-D6CD-4A9F-8EC2-6154EC015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4D0CB55-E172-41B9-B076-2B091FB8FA1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CC8B051-4A59-45A0-82CB-A6B1BE9C73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6475E69-E76A-48BC-B2C1-D5D677A7E0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B75C2F6-0007-43A6-A49F-33C38170E0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6450901-830C-4C52-802A-99B0DB105A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7</c:v>
                </c:pt>
              </c:numCache>
            </c:numRef>
          </c:xVal>
          <c:yVal>
            <c:numRef>
              <c:f>Sheet1!$B$2:$B$2</c:f>
              <c:numCache>
                <c:formatCode>General</c:formatCode>
                <c:ptCount val="1"/>
                <c:pt idx="0">
                  <c:v>26568.493506493509</c:v>
                </c:pt>
              </c:numCache>
            </c:numRef>
          </c:yVal>
          <c:bubbleSize>
            <c:numRef>
              <c:f>Sheet1!$C$2:$C$2</c:f>
              <c:numCache>
                <c:formatCode>General</c:formatCode>
                <c:ptCount val="1"/>
                <c:pt idx="0">
                  <c:v>1046552.1158</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3487489-AAE8-4DE6-91A2-2C472A3001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48C07A8-F668-4E16-85D8-CFC2BE2D7D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5DFEF24-E55E-43D6-B047-167906F2A6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8C8BE6B-A226-4CE7-94EE-E4FB9F4CCE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27ED755-F220-4297-B48B-B62FF3D00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6B7B205-AC3F-4EF8-AF22-D17CF9A4B66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33E3514-8D0D-407A-84C7-E7EE3C4A2E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FD7CF57-8FE8-452C-BDEE-F9C57F2E461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6FFA79A-6BB1-4E0A-9820-2C03D48C33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AA992D9-C9BC-47DA-8F16-B771D51DE8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13</c:v>
                </c:pt>
              </c:numCache>
            </c:numRef>
          </c:xVal>
          <c:yVal>
            <c:numRef>
              <c:f>Sheet1!$B$2:$B$2</c:f>
              <c:numCache>
                <c:formatCode>General</c:formatCode>
                <c:ptCount val="1"/>
                <c:pt idx="0">
                  <c:v>6680.8461538461543</c:v>
                </c:pt>
              </c:numCache>
            </c:numRef>
          </c:yVal>
          <c:bubbleSize>
            <c:numRef>
              <c:f>Sheet1!$C$2:$C$2</c:f>
              <c:numCache>
                <c:formatCode>General</c:formatCode>
                <c:ptCount val="1"/>
                <c:pt idx="0">
                  <c:v>55007.155300000013</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082C702-902A-4566-BF64-B4BA791E90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F9BE2FD-D1BD-47FF-A224-7327080E25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546F7BE-E6B7-4E47-8C90-D317AA90F7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B58BA00-1FF3-48D1-A7EA-C24A44FE57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B238DDB-48AC-4694-B3F7-CBC48D5B6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C916E0F-CB32-4A7F-BB99-117638EAA6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8719DEF-97B3-4F7C-B0D9-C38CCD1660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C47151D-82AC-45A0-A1CB-B4889E7C8F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3603C6B-6DD9-4C3E-BAC2-9AF998BB6B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153B208-6AFE-45E0-8A5C-3EEAB7B09A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1</c:v>
                </c:pt>
                <c:pt idx="1">
                  <c:v>0.78500000000000003</c:v>
                </c:pt>
                <c:pt idx="2">
                  <c:v>0.44800000000000001</c:v>
                </c:pt>
                <c:pt idx="3">
                  <c:v>4.5999999999999999E-2</c:v>
                </c:pt>
              </c:numCache>
            </c:numRef>
          </c:xVal>
          <c:yVal>
            <c:numRef>
              <c:f>Sheet1!$B$2:$B$5</c:f>
              <c:numCache>
                <c:formatCode>General</c:formatCode>
                <c:ptCount val="4"/>
                <c:pt idx="0">
                  <c:v>5644</c:v>
                </c:pt>
                <c:pt idx="1">
                  <c:v>68443.006369426745</c:v>
                </c:pt>
                <c:pt idx="2">
                  <c:v>75992.745535714275</c:v>
                </c:pt>
                <c:pt idx="3">
                  <c:v>21986.73913043478</c:v>
                </c:pt>
              </c:numCache>
            </c:numRef>
          </c:yVal>
          <c:bubbleSize>
            <c:numRef>
              <c:f>Sheet1!$C$2:$C$5</c:f>
              <c:numCache>
                <c:formatCode>General</c:formatCode>
                <c:ptCount val="4"/>
                <c:pt idx="0">
                  <c:v>8139.9551999999994</c:v>
                </c:pt>
                <c:pt idx="1">
                  <c:v>3648181.7445999999</c:v>
                </c:pt>
                <c:pt idx="2">
                  <c:v>2654418.0469</c:v>
                </c:pt>
                <c:pt idx="3">
                  <c:v>72733.44779999998</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4CT</c:v>
                  </c:pt>
                  <c:pt idx="1">
                    <c:v>HYDRO 5 SENSITIVE 5 BLADE REFILL SENSITIVE 6CT</c:v>
                  </c:pt>
                  <c:pt idx="2">
                    <c:v>HYDRO 5 SENSITIVE 5 BLADE REFILL SENSITIVE 12CT</c:v>
                  </c:pt>
                  <c:pt idx="3">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37E2482-F091-4414-9FB3-5A0F0F0644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B7AD1E1-4E16-44F5-A3A3-2860E8E9FC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6AD4D90-9CE3-449D-AAF7-8E07AD2093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D8311C1-158A-4AE1-9804-04AE8DDBCF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88184C0-C45C-4DEB-BA07-112B444D3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BD9C65C-4266-4C18-A2F9-C99E88699C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168FE43-5C71-45FF-B366-88C479CF14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8280EF5-392E-417D-AAE5-974543829B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1D03212-14D8-4303-832F-621D7F7111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60C1A60-66A2-42B4-BAF5-6E5554FF41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68899999999999995</c:v>
                </c:pt>
                <c:pt idx="1">
                  <c:v>0.84499999999999997</c:v>
                </c:pt>
                <c:pt idx="2">
                  <c:v>0.58399999999999996</c:v>
                </c:pt>
              </c:numCache>
            </c:numRef>
          </c:xVal>
          <c:yVal>
            <c:numRef>
              <c:f>Sheet1!$B$2:$B$4</c:f>
              <c:numCache>
                <c:formatCode>General</c:formatCode>
                <c:ptCount val="3"/>
                <c:pt idx="0">
                  <c:v>10233.43976777939</c:v>
                </c:pt>
                <c:pt idx="1">
                  <c:v>54222.520710059172</c:v>
                </c:pt>
                <c:pt idx="2">
                  <c:v>38536.181506849323</c:v>
                </c:pt>
              </c:numCache>
            </c:numRef>
          </c:yVal>
          <c:bubbleSize>
            <c:numRef>
              <c:f>Sheet1!$C$2:$C$4</c:f>
              <c:numCache>
                <c:formatCode>General</c:formatCode>
                <c:ptCount val="3"/>
                <c:pt idx="0">
                  <c:v>423999.08850000001</c:v>
                </c:pt>
                <c:pt idx="1">
                  <c:v>2611438.9336000001</c:v>
                </c:pt>
                <c:pt idx="2">
                  <c:v>1343734.6551000001</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8B9A44E-AAF7-4CE1-A075-561DFE3B89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6D44576-53FE-4310-A052-E05F937BA9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1F78C26-C7F6-4CC3-80E3-D5A627EC6C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1B5ED71-7D8E-4ED9-B900-2B2F240C84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1472639-D0CF-4FE7-9E8E-6F35E9C6C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C331AF0-6781-4658-BC70-766F44F792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C53F2E1-951A-4C65-A30B-6739EE4067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A80B329-754B-4512-B285-CD2B1EC3C7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22743D2-8AA7-4265-8BAF-0D0295232D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639C681-AC9A-409F-9E0E-F8223454EE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6.4000000000000001E-2</c:v>
                </c:pt>
              </c:numCache>
            </c:numRef>
          </c:xVal>
          <c:yVal>
            <c:numRef>
              <c:f>Sheet1!$B$2:$B$2</c:f>
              <c:numCache>
                <c:formatCode>General</c:formatCode>
                <c:ptCount val="1"/>
                <c:pt idx="0">
                  <c:v>6750.3125</c:v>
                </c:pt>
              </c:numCache>
            </c:numRef>
          </c:yVal>
          <c:bubbleSize>
            <c:numRef>
              <c:f>Sheet1!$C$2:$C$2</c:f>
              <c:numCache>
                <c:formatCode>General</c:formatCode>
                <c:ptCount val="1"/>
                <c:pt idx="0">
                  <c:v>28272.369699999999</c:v>
                </c:pt>
              </c:numCache>
            </c:numRef>
          </c:bubbleSize>
          <c:bubble3D val="0"/>
          <c:extLst>
            <c:ext xmlns:c15="http://schemas.microsoft.com/office/drawing/2012/chart" uri="{02D57815-91ED-43cb-92C2-25804820EDAC}">
              <c15:datalabelsRange>
                <c15:f>Sheet1!$E$2:$E$21</c15:f>
                <c15:dlblRangeCache>
                  <c:ptCount val="20"/>
                  <c:pt idx="0">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7E6CCC9-01ED-4DC9-AC66-2497CF6609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0BD7E9D-EAD8-49C2-9B6D-8DD9D7BDD3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5C11AF6-A6D7-484A-A195-F9DA58B7C8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84125DA-EB99-4365-BE1E-71DECBEB16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7EDC8AD-4AE6-49BB-A421-98C9ECF8E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31E2798-CD45-405D-B642-06431EBD41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A1919F0-3F69-4DFC-94C4-F8CA290C85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B5D47B5-13F1-43B7-B166-DF13FC4598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B89227D-8D7C-47CD-814D-124BCFA19B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1796F90-04D1-4867-8DA7-BDD3CE4461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79</c:v>
                </c:pt>
                <c:pt idx="1">
                  <c:v>0.31</c:v>
                </c:pt>
                <c:pt idx="2">
                  <c:v>0.04</c:v>
                </c:pt>
              </c:numCache>
            </c:numRef>
          </c:xVal>
          <c:yVal>
            <c:numRef>
              <c:f>Sheet1!$B$2:$B$4</c:f>
              <c:numCache>
                <c:formatCode>General</c:formatCode>
                <c:ptCount val="3"/>
                <c:pt idx="0">
                  <c:v>4560.0253164556962</c:v>
                </c:pt>
                <c:pt idx="1">
                  <c:v>5275.4193548387093</c:v>
                </c:pt>
                <c:pt idx="2">
                  <c:v>1055.75</c:v>
                </c:pt>
              </c:numCache>
            </c:numRef>
          </c:yVal>
          <c:bubbleSize>
            <c:numRef>
              <c:f>Sheet1!$C$2:$C$4</c:f>
              <c:numCache>
                <c:formatCode>General</c:formatCode>
                <c:ptCount val="3"/>
                <c:pt idx="0">
                  <c:v>244698.5876</c:v>
                </c:pt>
                <c:pt idx="1">
                  <c:v>127660.91680000001</c:v>
                </c:pt>
                <c:pt idx="2">
                  <c:v>3367.1781000000001</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6CT</c:v>
                  </c:pt>
                  <c:pt idx="1">
                    <c:v>HYDRO 5 SENSITIVE 5 BLADE REFILL SENSITIVE 12CT</c:v>
                  </c:pt>
                  <c:pt idx="2">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8EC02A9-E790-418A-A9AE-9A1D7419CF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273D794-6A7C-4A9B-830F-90A75C9669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EA27BE4-86A6-4556-9504-06D8449699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6F88C1B-D371-47CA-90AE-419ECABDCB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2B5DEE9-82B0-48C5-95ED-86B25432E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3691128-94CA-4FB1-B851-C1D3D1A47C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0E7F999-8690-411A-853F-A5E9AAD3EF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7A32F69-CDE1-41E5-809C-8425B4B9B2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80EB23C-927A-4AF7-9507-CDECA618E2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66853BD-D081-4540-A95F-9D37F44C87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67</c:v>
                </c:pt>
                <c:pt idx="1">
                  <c:v>0.83</c:v>
                </c:pt>
                <c:pt idx="2">
                  <c:v>0.54</c:v>
                </c:pt>
              </c:numCache>
            </c:numRef>
          </c:xVal>
          <c:yVal>
            <c:numRef>
              <c:f>Sheet1!$B$2:$B$4</c:f>
              <c:numCache>
                <c:formatCode>General</c:formatCode>
                <c:ptCount val="3"/>
                <c:pt idx="0">
                  <c:v>745.05970149253733</c:v>
                </c:pt>
                <c:pt idx="1">
                  <c:v>3421.4096385542171</c:v>
                </c:pt>
                <c:pt idx="2">
                  <c:v>2624.6851851851852</c:v>
                </c:pt>
              </c:numCache>
            </c:numRef>
          </c:yVal>
          <c:bubbleSize>
            <c:numRef>
              <c:f>Sheet1!$C$2:$C$4</c:f>
              <c:numCache>
                <c:formatCode>General</c:formatCode>
                <c:ptCount val="3"/>
                <c:pt idx="0">
                  <c:v>30082.322400000001</c:v>
                </c:pt>
                <c:pt idx="1">
                  <c:v>162101.8536</c:v>
                </c:pt>
                <c:pt idx="2">
                  <c:v>85603.147899999982</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2AF31D3-73FA-4C5F-B54F-7FC4F55D6A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5063539-54AF-43BB-80A8-9F57C69250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A9646C9-BE44-4223-AE10-B1E0EFE640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1062D68-C72E-4920-AD41-8163F56F31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97D3571-9FCA-4DBE-AC04-7045DC416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B06B8BF-D073-4EBD-8445-408FB5273A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5CEF512-6D43-4CA5-933E-2B6EC072D6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ADA9E56-7294-460D-AFD2-05D4D73226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BC71A7C-7762-4DE6-A62F-FF37DA4AFE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D2D9049-5CC1-435E-A409-299246BE2F1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01</c:v>
                </c:pt>
                <c:pt idx="1">
                  <c:v>0.56000000000000005</c:v>
                </c:pt>
              </c:numCache>
            </c:numRef>
          </c:xVal>
          <c:yVal>
            <c:numRef>
              <c:f>Sheet1!$B$2:$B$3</c:f>
              <c:numCache>
                <c:formatCode>General</c:formatCode>
                <c:ptCount val="2"/>
                <c:pt idx="0">
                  <c:v>839</c:v>
                </c:pt>
                <c:pt idx="1">
                  <c:v>7307.5535714285706</c:v>
                </c:pt>
              </c:numCache>
            </c:numRef>
          </c:yVal>
          <c:bubbleSize>
            <c:numRef>
              <c:f>Sheet1!$C$2:$C$3</c:f>
              <c:numCache>
                <c:formatCode>General</c:formatCode>
                <c:ptCount val="2"/>
                <c:pt idx="0">
                  <c:v>1341.184</c:v>
                </c:pt>
                <c:pt idx="1">
                  <c:v>278077.10879999999</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4CT</c:v>
                  </c:pt>
                  <c:pt idx="1">
                    <c:v>HYDRO 5 SENSITIVE 5 BLADE REFILL SENSITIVE 6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BA8EE6F-5D0E-4FC7-9D6B-9FA2678C64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36F94E6-7D3A-4DE8-97F9-CF3F7D49CC5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352DD18-DF51-4CE6-9DD5-9B17C07433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6105054-0E61-4E14-A21A-21B4F6DC2B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01FBF93-C10D-40D3-B5FA-D2E7A84E5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387CE7B-C797-4956-97E2-61BE790FED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E5B5435-C030-42AC-AA70-24C7366D11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C11765B-C97E-413C-8044-FF66F48C8F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A607949-8B25-4849-A53B-A9E494BAFD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B90F06A-AC0C-47CA-B584-B679E896FA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1</c:v>
                </c:pt>
                <c:pt idx="1">
                  <c:v>0.65</c:v>
                </c:pt>
                <c:pt idx="2">
                  <c:v>0.4</c:v>
                </c:pt>
              </c:numCache>
            </c:numRef>
          </c:xVal>
          <c:yVal>
            <c:numRef>
              <c:f>Sheet1!$B$2:$B$4</c:f>
              <c:numCache>
                <c:formatCode>General</c:formatCode>
                <c:ptCount val="3"/>
                <c:pt idx="0">
                  <c:v>1148.3170731707321</c:v>
                </c:pt>
                <c:pt idx="1">
                  <c:v>4936.0153846153844</c:v>
                </c:pt>
                <c:pt idx="2">
                  <c:v>3361.8</c:v>
                </c:pt>
              </c:numCache>
            </c:numRef>
          </c:yVal>
          <c:bubbleSize>
            <c:numRef>
              <c:f>Sheet1!$C$2:$C$4</c:f>
              <c:numCache>
                <c:formatCode>General</c:formatCode>
                <c:ptCount val="3"/>
                <c:pt idx="0">
                  <c:v>28301.748800000001</c:v>
                </c:pt>
                <c:pt idx="1">
                  <c:v>182797.47649999999</c:v>
                </c:pt>
                <c:pt idx="2">
                  <c:v>86297.400300000008</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Cremo</c:v>
                </c:pt>
                <c:pt idx="3">
                  <c:v>Others</c:v>
                </c:pt>
              </c:strCache>
            </c:strRef>
          </c:cat>
          <c:val>
            <c:numRef>
              <c:f>Sheet1!$B$2:$B$5</c:f>
              <c:numCache>
                <c:formatCode>General</c:formatCode>
                <c:ptCount val="4"/>
                <c:pt idx="0">
                  <c:v>0.89179053563435384</c:v>
                </c:pt>
                <c:pt idx="1">
                  <c:v>0.10328783626880353</c:v>
                </c:pt>
                <c:pt idx="2">
                  <c:v>3.3204645527582448E-6</c:v>
                </c:pt>
                <c:pt idx="3">
                  <c:v>4.918307632289889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Cremo</c:v>
                </c:pt>
                <c:pt idx="3">
                  <c:v>Others</c:v>
                </c:pt>
              </c:strCache>
            </c:strRef>
          </c:cat>
          <c:val>
            <c:numRef>
              <c:f>Sheet1!$C$2:$C$5</c:f>
              <c:numCache>
                <c:formatCode>General</c:formatCode>
                <c:ptCount val="4"/>
                <c:pt idx="0">
                  <c:v>0.78239608801955984</c:v>
                </c:pt>
                <c:pt idx="1">
                  <c:v>0.20537897310513448</c:v>
                </c:pt>
                <c:pt idx="2">
                  <c:v>0</c:v>
                </c:pt>
                <c:pt idx="3">
                  <c:v>1.22249388753056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Cremo</c:v>
                </c:pt>
                <c:pt idx="3">
                  <c:v>Others</c:v>
                </c:pt>
              </c:strCache>
            </c:strRef>
          </c:cat>
          <c:val>
            <c:numRef>
              <c:f>Sheet1!$D$2:$D$5</c:f>
              <c:numCache>
                <c:formatCode>General</c:formatCode>
                <c:ptCount val="4"/>
                <c:pt idx="0">
                  <c:v>0.87733167908428311</c:v>
                </c:pt>
                <c:pt idx="1">
                  <c:v>1.9884139364740083</c:v>
                </c:pt>
                <c:pt idx="2">
                  <c:v>0</c:v>
                </c:pt>
                <c:pt idx="3">
                  <c:v>2.485598663053510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B$2:$B$9</c:f>
              <c:numCache>
                <c:formatCode>General</c:formatCode>
                <c:ptCount val="8"/>
                <c:pt idx="0">
                  <c:v>0.6134744192881163</c:v>
                </c:pt>
                <c:pt idx="1">
                  <c:v>0.24568657206703032</c:v>
                </c:pt>
                <c:pt idx="2">
                  <c:v>4.6936934837158432E-2</c:v>
                </c:pt>
                <c:pt idx="3">
                  <c:v>4.065174855644748E-2</c:v>
                </c:pt>
                <c:pt idx="4">
                  <c:v>3.8749661801431017E-2</c:v>
                </c:pt>
                <c:pt idx="5">
                  <c:v>1.4247753589506092E-2</c:v>
                </c:pt>
                <c:pt idx="6">
                  <c:v>2.4767659074531362E-4</c:v>
                </c:pt>
                <c:pt idx="7">
                  <c:v>5.233269565018312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C$2:$C$9</c:f>
              <c:numCache>
                <c:formatCode>General</c:formatCode>
                <c:ptCount val="8"/>
                <c:pt idx="0">
                  <c:v>0.55572519083969474</c:v>
                </c:pt>
                <c:pt idx="1">
                  <c:v>0.13944020356234099</c:v>
                </c:pt>
                <c:pt idx="2">
                  <c:v>6.8702290076335881E-2</c:v>
                </c:pt>
                <c:pt idx="3">
                  <c:v>7.4809160305343514E-2</c:v>
                </c:pt>
                <c:pt idx="4">
                  <c:v>0.11043256997455471</c:v>
                </c:pt>
                <c:pt idx="5">
                  <c:v>4.7328244274809167E-2</c:v>
                </c:pt>
                <c:pt idx="6">
                  <c:v>3.5623409669211202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D$2:$D$9</c:f>
              <c:numCache>
                <c:formatCode>General</c:formatCode>
                <c:ptCount val="8"/>
                <c:pt idx="0">
                  <c:v>0.9058653032094891</c:v>
                </c:pt>
                <c:pt idx="1">
                  <c:v>0.56755321379264356</c:v>
                </c:pt>
                <c:pt idx="2">
                  <c:v>1.4637148828463022</c:v>
                </c:pt>
                <c:pt idx="3">
                  <c:v>1.8402445887774384</c:v>
                </c:pt>
                <c:pt idx="4">
                  <c:v>2.8498976466028525</c:v>
                </c:pt>
                <c:pt idx="5">
                  <c:v>3.3218039586021386</c:v>
                </c:pt>
                <c:pt idx="6">
                  <c:v>14.383034570208062</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8630257-DE03-4520-AB16-391B43AB81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5A1D75F-3AD5-43FD-9131-4202F4617A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BA4E24-C911-43F4-BB4A-C38B6CEFDA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DD6B50E-6280-4556-9DC4-4B5A4B8133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C0FBF99-9EC2-450C-8CB4-DEF361681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A2D6AC1-0165-48B8-9396-6A092E0E6A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3A482AC-40D8-4739-B191-949B755A52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0EA95A5-DD39-438B-A929-9D07152878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33E23F0-F194-48FF-9951-A60A75FDAC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6A4B14E-CF9C-41A5-99CD-8264BCBC181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1</c:v>
                </c:pt>
                <c:pt idx="1">
                  <c:v>0.8</c:v>
                </c:pt>
                <c:pt idx="2">
                  <c:v>0.49</c:v>
                </c:pt>
                <c:pt idx="3">
                  <c:v>0.05</c:v>
                </c:pt>
              </c:numCache>
            </c:numRef>
          </c:xVal>
          <c:yVal>
            <c:numRef>
              <c:f>Sheet1!$B$2:$B$5</c:f>
              <c:numCache>
                <c:formatCode>General</c:formatCode>
                <c:ptCount val="4"/>
                <c:pt idx="0">
                  <c:v>4359</c:v>
                </c:pt>
                <c:pt idx="1">
                  <c:v>57541.387499999997</c:v>
                </c:pt>
                <c:pt idx="2">
                  <c:v>66122.918367346938</c:v>
                </c:pt>
                <c:pt idx="3">
                  <c:v>19381.2</c:v>
                </c:pt>
              </c:numCache>
            </c:numRef>
          </c:yVal>
          <c:bubbleSize>
            <c:numRef>
              <c:f>Sheet1!$C$2:$C$5</c:f>
              <c:numCache>
                <c:formatCode>General</c:formatCode>
                <c:ptCount val="4"/>
                <c:pt idx="0">
                  <c:v>6169.4463999999998</c:v>
                </c:pt>
                <c:pt idx="1">
                  <c:v>3125406.0482000001</c:v>
                </c:pt>
                <c:pt idx="2">
                  <c:v>2525616.0184999998</c:v>
                </c:pt>
                <c:pt idx="3">
                  <c:v>69360.267600000006</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4CT</c:v>
                  </c:pt>
                  <c:pt idx="1">
                    <c:v>HYDRO 5 SENSITIVE 5 BLADE REFILL SENSITIVE 6CT</c:v>
                  </c:pt>
                  <c:pt idx="2">
                    <c:v>HYDRO 5 SENSITIVE 5 BLADE REFILL SENSITIVE 12CT</c:v>
                  </c:pt>
                  <c:pt idx="3">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BAC4F8A-16D8-4C58-AC8D-E64C4BC492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F73CB2B-363D-4EC1-9097-DAB91BB708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8E84841-E6F2-4F08-8D04-CCFE1BD649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C464FFD-2EAF-4F94-9599-4365FDDB09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920B184-84E2-4013-A7FA-36409B22C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F7D5C13-E2A8-43EB-99A5-B315A5A542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841AD01-BFB7-419E-BC1C-C322DA2886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1D357E6-3705-4E8B-AC7F-D0BE54403C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985A17B-0F32-4DDC-AB9D-CEAAB49DA6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2BF7E7A-B428-47A8-B8FD-2B68C8CCEA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71</c:v>
                </c:pt>
                <c:pt idx="1">
                  <c:v>0.86</c:v>
                </c:pt>
                <c:pt idx="2">
                  <c:v>0.6</c:v>
                </c:pt>
              </c:numCache>
            </c:numRef>
          </c:xVal>
          <c:yVal>
            <c:numRef>
              <c:f>Sheet1!$B$2:$B$4</c:f>
              <c:numCache>
                <c:formatCode>General</c:formatCode>
                <c:ptCount val="3"/>
                <c:pt idx="0">
                  <c:v>8564.5633802816901</c:v>
                </c:pt>
                <c:pt idx="1">
                  <c:v>46244.011627906977</c:v>
                </c:pt>
                <c:pt idx="2">
                  <c:v>32905.133333333331</c:v>
                </c:pt>
              </c:numCache>
            </c:numRef>
          </c:yVal>
          <c:bubbleSize>
            <c:numRef>
              <c:f>Sheet1!$C$2:$C$4</c:f>
              <c:numCache>
                <c:formatCode>General</c:formatCode>
                <c:ptCount val="3"/>
                <c:pt idx="0">
                  <c:v>365615.01729999989</c:v>
                </c:pt>
                <c:pt idx="1">
                  <c:v>2266539.6035000002</c:v>
                </c:pt>
                <c:pt idx="2">
                  <c:v>1171834.1069</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6CD6C2A-5BF8-462B-A582-73BEAEF5B0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534811D-C9F6-4103-8E2A-2175C6F4EC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910C187-E909-47B6-86ED-7EE9CE61DB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132AFD0-3330-4AB5-9D34-0CBFA3BA12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41F415F-1252-4AF7-8564-D5CC0D805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2CBBBED-BE85-4BF7-A204-4BFFA547D9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8D5F1A3-15FB-4D3E-8603-8522D2E62B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399850D-3A47-42DA-9054-E856E3CDC9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61B49E6-F4CF-487A-8907-8F566ED729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AC44E04-5B2E-4754-9DBE-6E9339E053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7.0000000000000007E-2</c:v>
                </c:pt>
              </c:numCache>
            </c:numRef>
          </c:xVal>
          <c:yVal>
            <c:numRef>
              <c:f>Sheet1!$B$2:$B$2</c:f>
              <c:numCache>
                <c:formatCode>General</c:formatCode>
                <c:ptCount val="1"/>
                <c:pt idx="0">
                  <c:v>5990.2857142857138</c:v>
                </c:pt>
              </c:numCache>
            </c:numRef>
          </c:yVal>
          <c:bubbleSize>
            <c:numRef>
              <c:f>Sheet1!$C$2:$C$2</c:f>
              <c:numCache>
                <c:formatCode>General</c:formatCode>
                <c:ptCount val="1"/>
                <c:pt idx="0">
                  <c:v>27404.931199999999</c:v>
                </c:pt>
              </c:numCache>
            </c:numRef>
          </c:bubbleSize>
          <c:bubble3D val="0"/>
          <c:extLst>
            <c:ext xmlns:c15="http://schemas.microsoft.com/office/drawing/2012/chart" uri="{02D57815-91ED-43cb-92C2-25804820EDAC}">
              <c15:datalabelsRange>
                <c15:f>Sheet1!$E$2:$E$21</c15:f>
                <c15:dlblRangeCache>
                  <c:ptCount val="20"/>
                  <c:pt idx="0">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B$2:$B$10</c:f>
              <c:numCache>
                <c:formatCode>General</c:formatCode>
                <c:ptCount val="9"/>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pt idx="8">
                  <c:v>2.7626930741124635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C$2:$C$10</c:f>
              <c:numCache>
                <c:formatCode>General</c:formatCode>
                <c:ptCount val="9"/>
                <c:pt idx="0">
                  <c:v>0.45487835909236735</c:v>
                </c:pt>
                <c:pt idx="1">
                  <c:v>8.7931053557401911E-2</c:v>
                </c:pt>
                <c:pt idx="2">
                  <c:v>0.18810917257630907</c:v>
                </c:pt>
                <c:pt idx="3">
                  <c:v>9.5498346037681564E-2</c:v>
                </c:pt>
                <c:pt idx="4">
                  <c:v>0.1058867782584164</c:v>
                </c:pt>
                <c:pt idx="5">
                  <c:v>3.2581398178981959E-2</c:v>
                </c:pt>
                <c:pt idx="6">
                  <c:v>1.637367378773966E-2</c:v>
                </c:pt>
                <c:pt idx="7">
                  <c:v>1.6738762460033852E-2</c:v>
                </c:pt>
                <c:pt idx="8">
                  <c:v>2.0024560510681611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D$2:$D$10</c:f>
              <c:numCache>
                <c:formatCode>General</c:formatCode>
                <c:ptCount val="9"/>
                <c:pt idx="0">
                  <c:v>0.80532655491381089</c:v>
                </c:pt>
                <c:pt idx="1">
                  <c:v>0.62086002073316693</c:v>
                </c:pt>
                <c:pt idx="2">
                  <c:v>1.7824113537163599</c:v>
                </c:pt>
                <c:pt idx="3">
                  <c:v>1.351550105429288</c:v>
                </c:pt>
                <c:pt idx="4">
                  <c:v>1.5457923049666866</c:v>
                </c:pt>
                <c:pt idx="5">
                  <c:v>1.2542257026400674</c:v>
                </c:pt>
                <c:pt idx="6">
                  <c:v>1.3665663878822933</c:v>
                </c:pt>
                <c:pt idx="7">
                  <c:v>1.5783679071585079</c:v>
                </c:pt>
                <c:pt idx="8">
                  <c:v>7.248203102371281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B$2:$B$6</c:f>
              <c:numCache>
                <c:formatCode>General</c:formatCode>
                <c:ptCount val="5"/>
                <c:pt idx="0">
                  <c:v>0.8391616314870245</c:v>
                </c:pt>
                <c:pt idx="1">
                  <c:v>8.0330250724088836E-2</c:v>
                </c:pt>
                <c:pt idx="2">
                  <c:v>6.5429725633512126E-2</c:v>
                </c:pt>
                <c:pt idx="3">
                  <c:v>1.1916705761139099E-2</c:v>
                </c:pt>
                <c:pt idx="4">
                  <c:v>3.16168639423538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C$2:$C$6</c:f>
              <c:numCache>
                <c:formatCode>General</c:formatCode>
                <c:ptCount val="5"/>
                <c:pt idx="0">
                  <c:v>0.61971830985915499</c:v>
                </c:pt>
                <c:pt idx="1">
                  <c:v>0.15937731653076354</c:v>
                </c:pt>
                <c:pt idx="2">
                  <c:v>7.3387694588584143E-2</c:v>
                </c:pt>
                <c:pt idx="3">
                  <c:v>5.9303187546330627E-2</c:v>
                </c:pt>
                <c:pt idx="4">
                  <c:v>8.821349147516678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D$2:$D$6</c:f>
              <c:numCache>
                <c:formatCode>General</c:formatCode>
                <c:ptCount val="5"/>
                <c:pt idx="0">
                  <c:v>0.73849695530167647</c:v>
                </c:pt>
                <c:pt idx="1">
                  <c:v>1.9840261308056724</c:v>
                </c:pt>
                <c:pt idx="2">
                  <c:v>1.121626200905175</c:v>
                </c:pt>
                <c:pt idx="3">
                  <c:v>4.9764749365316145</c:v>
                </c:pt>
                <c:pt idx="4">
                  <c:v>27.9007720803694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Others</c:v>
                </c:pt>
              </c:strCache>
            </c:strRef>
          </c:cat>
          <c:val>
            <c:numRef>
              <c:f>Sheet1!$B$2:$B$4</c:f>
              <c:numCache>
                <c:formatCode>General</c:formatCode>
                <c:ptCount val="3"/>
                <c:pt idx="0">
                  <c:v>0.89179053563435384</c:v>
                </c:pt>
                <c:pt idx="1">
                  <c:v>0.10328783626880353</c:v>
                </c:pt>
                <c:pt idx="2">
                  <c:v>4.921628096842647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Others</c:v>
                </c:pt>
              </c:strCache>
            </c:strRef>
          </c:cat>
          <c:val>
            <c:numRef>
              <c:f>Sheet1!$C$2:$C$4</c:f>
              <c:numCache>
                <c:formatCode>General</c:formatCode>
                <c:ptCount val="3"/>
                <c:pt idx="0">
                  <c:v>0.78239608801955984</c:v>
                </c:pt>
                <c:pt idx="1">
                  <c:v>0.20537897310513448</c:v>
                </c:pt>
                <c:pt idx="2">
                  <c:v>1.22249388753056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Others</c:v>
                </c:pt>
              </c:strCache>
            </c:strRef>
          </c:cat>
          <c:val>
            <c:numRef>
              <c:f>Sheet1!$D$2:$D$4</c:f>
              <c:numCache>
                <c:formatCode>General</c:formatCode>
                <c:ptCount val="3"/>
                <c:pt idx="0">
                  <c:v>0.87733167908428311</c:v>
                </c:pt>
                <c:pt idx="1">
                  <c:v>1.9884139364740083</c:v>
                </c:pt>
                <c:pt idx="2">
                  <c:v>2.48392170939292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Comfort 3</c:v>
                </c:pt>
                <c:pt idx="7">
                  <c:v>Van Der Hagen</c:v>
                </c:pt>
                <c:pt idx="8">
                  <c:v>Others</c:v>
                </c:pt>
              </c:strCache>
            </c:strRef>
          </c:cat>
          <c:val>
            <c:numRef>
              <c:f>Sheet1!$B$2:$B$10</c:f>
              <c:numCache>
                <c:formatCode>General</c:formatCode>
                <c:ptCount val="9"/>
                <c:pt idx="0">
                  <c:v>0.60821345079648781</c:v>
                </c:pt>
                <c:pt idx="1">
                  <c:v>0.11716739610818547</c:v>
                </c:pt>
                <c:pt idx="2">
                  <c:v>9.8847156376664469E-2</c:v>
                </c:pt>
                <c:pt idx="3">
                  <c:v>6.9469275220367055E-2</c:v>
                </c:pt>
                <c:pt idx="4">
                  <c:v>6.4424733429131145E-2</c:v>
                </c:pt>
                <c:pt idx="5">
                  <c:v>2.0756485770872024E-2</c:v>
                </c:pt>
                <c:pt idx="6">
                  <c:v>1.0653408966937771E-2</c:v>
                </c:pt>
                <c:pt idx="7">
                  <c:v>1.0361762303401785E-2</c:v>
                </c:pt>
                <c:pt idx="8">
                  <c:v>1.0633102795252172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Comfort 3</c:v>
                </c:pt>
                <c:pt idx="7">
                  <c:v>Van Der Hagen</c:v>
                </c:pt>
                <c:pt idx="8">
                  <c:v>Others</c:v>
                </c:pt>
              </c:strCache>
            </c:strRef>
          </c:cat>
          <c:val>
            <c:numRef>
              <c:f>Sheet1!$C$2:$C$10</c:f>
              <c:numCache>
                <c:formatCode>General</c:formatCode>
                <c:ptCount val="9"/>
                <c:pt idx="0">
                  <c:v>0.47198762935648869</c:v>
                </c:pt>
                <c:pt idx="1">
                  <c:v>8.5523968121803254E-2</c:v>
                </c:pt>
                <c:pt idx="2">
                  <c:v>0.17961222790531697</c:v>
                </c:pt>
                <c:pt idx="3">
                  <c:v>0.10074937552039966</c:v>
                </c:pt>
                <c:pt idx="4">
                  <c:v>9.4207208278815263E-2</c:v>
                </c:pt>
                <c:pt idx="5">
                  <c:v>3.3067681693826574E-2</c:v>
                </c:pt>
                <c:pt idx="6">
                  <c:v>1.7842274295230168E-2</c:v>
                </c:pt>
                <c:pt idx="7">
                  <c:v>1.5939098370405618E-2</c:v>
                </c:pt>
                <c:pt idx="8">
                  <c:v>1.07053645771381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Comfort 3</c:v>
                </c:pt>
                <c:pt idx="7">
                  <c:v>Van Der Hagen</c:v>
                </c:pt>
                <c:pt idx="8">
                  <c:v>Others</c:v>
                </c:pt>
              </c:strCache>
            </c:strRef>
          </c:cat>
          <c:val>
            <c:numRef>
              <c:f>Sheet1!$D$2:$D$10</c:f>
              <c:numCache>
                <c:formatCode>General</c:formatCode>
                <c:ptCount val="9"/>
                <c:pt idx="0">
                  <c:v>0.77602300432257099</c:v>
                </c:pt>
                <c:pt idx="1">
                  <c:v>0.72992974976447766</c:v>
                </c:pt>
                <c:pt idx="2">
                  <c:v>1.8170702576500144</c:v>
                </c:pt>
                <c:pt idx="3">
                  <c:v>1.4502724434767369</c:v>
                </c:pt>
                <c:pt idx="4">
                  <c:v>1.4622832453384631</c:v>
                </c:pt>
                <c:pt idx="5">
                  <c:v>1.5931252553469859</c:v>
                </c:pt>
                <c:pt idx="6">
                  <c:v>1.674794833334815</c:v>
                </c:pt>
                <c:pt idx="7">
                  <c:v>1.5382613404645256</c:v>
                </c:pt>
                <c:pt idx="8">
                  <c:v>10.06795926201164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Bic</c:v>
                </c:pt>
                <c:pt idx="3">
                  <c:v>Equate</c:v>
                </c:pt>
                <c:pt idx="4">
                  <c:v>Schick</c:v>
                </c:pt>
                <c:pt idx="5">
                  <c:v>Dollar Shave Club</c:v>
                </c:pt>
                <c:pt idx="6">
                  <c:v>Others</c:v>
                </c:pt>
              </c:strCache>
            </c:strRef>
          </c:cat>
          <c:val>
            <c:numRef>
              <c:f>Sheet1!$B$2:$B$8</c:f>
              <c:numCache>
                <c:formatCode>General</c:formatCode>
                <c:ptCount val="7"/>
                <c:pt idx="0">
                  <c:v>0.57215875792109039</c:v>
                </c:pt>
                <c:pt idx="1">
                  <c:v>0.12903402387555485</c:v>
                </c:pt>
                <c:pt idx="2">
                  <c:v>0.1047374789670963</c:v>
                </c:pt>
                <c:pt idx="3">
                  <c:v>8.6360836984151618E-2</c:v>
                </c:pt>
                <c:pt idx="4">
                  <c:v>6.9859745722448893E-2</c:v>
                </c:pt>
                <c:pt idx="5">
                  <c:v>2.8475386707381922E-2</c:v>
                </c:pt>
                <c:pt idx="6">
                  <c:v>9.373769822276020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Bic</c:v>
                </c:pt>
                <c:pt idx="3">
                  <c:v>Equate</c:v>
                </c:pt>
                <c:pt idx="4">
                  <c:v>Schick</c:v>
                </c:pt>
                <c:pt idx="5">
                  <c:v>Dollar Shave Club</c:v>
                </c:pt>
                <c:pt idx="6">
                  <c:v>Others</c:v>
                </c:pt>
              </c:strCache>
            </c:strRef>
          </c:cat>
          <c:val>
            <c:numRef>
              <c:f>Sheet1!$C$2:$C$8</c:f>
              <c:numCache>
                <c:formatCode>General</c:formatCode>
                <c:ptCount val="7"/>
                <c:pt idx="0">
                  <c:v>0.43537820131030386</c:v>
                </c:pt>
                <c:pt idx="1">
                  <c:v>8.7750645225332546E-2</c:v>
                </c:pt>
                <c:pt idx="2">
                  <c:v>0.17669247567996821</c:v>
                </c:pt>
                <c:pt idx="3">
                  <c:v>0.14036132618622196</c:v>
                </c:pt>
                <c:pt idx="4">
                  <c:v>0.10462576930712728</c:v>
                </c:pt>
                <c:pt idx="5">
                  <c:v>3.7720865594599959E-2</c:v>
                </c:pt>
                <c:pt idx="6">
                  <c:v>1.747071669644629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Bic</c:v>
                </c:pt>
                <c:pt idx="3">
                  <c:v>Equate</c:v>
                </c:pt>
                <c:pt idx="4">
                  <c:v>Schick</c:v>
                </c:pt>
                <c:pt idx="5">
                  <c:v>Dollar Shave Club</c:v>
                </c:pt>
                <c:pt idx="6">
                  <c:v>Others</c:v>
                </c:pt>
              </c:strCache>
            </c:strRef>
          </c:cat>
          <c:val>
            <c:numRef>
              <c:f>Sheet1!$D$2:$D$8</c:f>
              <c:numCache>
                <c:formatCode>General</c:formatCode>
                <c:ptCount val="7"/>
                <c:pt idx="0">
                  <c:v>0.76093950373534136</c:v>
                </c:pt>
                <c:pt idx="1">
                  <c:v>0.68005819387576794</c:v>
                </c:pt>
                <c:pt idx="2">
                  <c:v>1.6870033289179784</c:v>
                </c:pt>
                <c:pt idx="3">
                  <c:v>1.6252890903776229</c:v>
                </c:pt>
                <c:pt idx="4">
                  <c:v>1.497654596723025</c:v>
                </c:pt>
                <c:pt idx="5">
                  <c:v>1.3246831722506951</c:v>
                </c:pt>
                <c:pt idx="6">
                  <c:v>1.863787678563273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B$2:$B$10</c:f>
              <c:numCache>
                <c:formatCode>General</c:formatCode>
                <c:ptCount val="9"/>
                <c:pt idx="0">
                  <c:v>0.56090594801346816</c:v>
                </c:pt>
                <c:pt idx="1">
                  <c:v>0.14437866093188914</c:v>
                </c:pt>
                <c:pt idx="2">
                  <c:v>0.10612175297548615</c:v>
                </c:pt>
                <c:pt idx="3">
                  <c:v>6.9762969705455508E-2</c:v>
                </c:pt>
                <c:pt idx="4">
                  <c:v>6.8740181063599012E-2</c:v>
                </c:pt>
                <c:pt idx="5">
                  <c:v>2.6237294475988257E-2</c:v>
                </c:pt>
                <c:pt idx="6">
                  <c:v>1.2821323280886886E-2</c:v>
                </c:pt>
                <c:pt idx="7">
                  <c:v>1.0724769328363122E-2</c:v>
                </c:pt>
                <c:pt idx="8">
                  <c:v>3.0710022486369845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C$2:$C$10</c:f>
              <c:numCache>
                <c:formatCode>General</c:formatCode>
                <c:ptCount val="9"/>
                <c:pt idx="0">
                  <c:v>0.4543415571932074</c:v>
                </c:pt>
                <c:pt idx="1">
                  <c:v>8.8112784363985897E-2</c:v>
                </c:pt>
                <c:pt idx="2">
                  <c:v>0.18914877710135639</c:v>
                </c:pt>
                <c:pt idx="3">
                  <c:v>9.3452953113318374E-2</c:v>
                </c:pt>
                <c:pt idx="4">
                  <c:v>0.10680337498664956</c:v>
                </c:pt>
                <c:pt idx="5">
                  <c:v>3.2361422620954816E-2</c:v>
                </c:pt>
                <c:pt idx="6">
                  <c:v>1.6874933247890633E-2</c:v>
                </c:pt>
                <c:pt idx="7">
                  <c:v>1.6768129872903981E-2</c:v>
                </c:pt>
                <c:pt idx="8">
                  <c:v>2.1360674997329913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D$2:$D$10</c:f>
              <c:numCache>
                <c:formatCode>General</c:formatCode>
                <c:ptCount val="9"/>
                <c:pt idx="0">
                  <c:v>0.81001379786098826</c:v>
                </c:pt>
                <c:pt idx="1">
                  <c:v>0.6102895247487663</c:v>
                </c:pt>
                <c:pt idx="2">
                  <c:v>1.7823751662399439</c:v>
                </c:pt>
                <c:pt idx="3">
                  <c:v>1.3395781961101105</c:v>
                </c:pt>
                <c:pt idx="4">
                  <c:v>1.5537255406388026</c:v>
                </c:pt>
                <c:pt idx="5">
                  <c:v>1.233413096406385</c:v>
                </c:pt>
                <c:pt idx="6">
                  <c:v>1.3161615909838713</c:v>
                </c:pt>
                <c:pt idx="7">
                  <c:v>1.5634956202329093</c:v>
                </c:pt>
                <c:pt idx="8">
                  <c:v>6.95560382829758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B$2:$B$10</c:f>
              <c:numCache>
                <c:formatCode>General</c:formatCode>
                <c:ptCount val="9"/>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pt idx="8">
                  <c:v>4.1180360862910076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C$2:$C$10</c:f>
              <c:numCache>
                <c:formatCode>General</c:formatCode>
                <c:ptCount val="9"/>
                <c:pt idx="0">
                  <c:v>0.49405942618760357</c:v>
                </c:pt>
                <c:pt idx="1">
                  <c:v>0.13840207766712337</c:v>
                </c:pt>
                <c:pt idx="2">
                  <c:v>0.12257418048710662</c:v>
                </c:pt>
                <c:pt idx="3">
                  <c:v>6.1164393366188827E-2</c:v>
                </c:pt>
                <c:pt idx="4">
                  <c:v>6.0223717306394552E-2</c:v>
                </c:pt>
                <c:pt idx="5">
                  <c:v>5.8669556859777927E-2</c:v>
                </c:pt>
                <c:pt idx="6">
                  <c:v>3.0265229749902867E-2</c:v>
                </c:pt>
                <c:pt idx="7">
                  <c:v>3.0940062575407455E-2</c:v>
                </c:pt>
                <c:pt idx="8">
                  <c:v>3.7013558004948778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D$2:$D$10</c:f>
              <c:numCache>
                <c:formatCode>General</c:formatCode>
                <c:ptCount val="9"/>
                <c:pt idx="0">
                  <c:v>0.85680741036046093</c:v>
                </c:pt>
                <c:pt idx="1">
                  <c:v>0.66042717898672021</c:v>
                </c:pt>
                <c:pt idx="2">
                  <c:v>1.8364722179413804</c:v>
                </c:pt>
                <c:pt idx="3">
                  <c:v>1.3852861651114534</c:v>
                </c:pt>
                <c:pt idx="4">
                  <c:v>1.5548482524877438</c:v>
                </c:pt>
                <c:pt idx="5">
                  <c:v>1.9499419521000017</c:v>
                </c:pt>
                <c:pt idx="6">
                  <c:v>1.6941156249905365</c:v>
                </c:pt>
                <c:pt idx="7">
                  <c:v>1.9566833760959996</c:v>
                </c:pt>
                <c:pt idx="8">
                  <c:v>8.98815775999811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B$2:$B$9</c:f>
              <c:numCache>
                <c:formatCode>General</c:formatCode>
                <c:ptCount val="8"/>
                <c:pt idx="0">
                  <c:v>0.56483715779090438</c:v>
                </c:pt>
                <c:pt idx="1">
                  <c:v>0.1416278236977879</c:v>
                </c:pt>
                <c:pt idx="2">
                  <c:v>0.11614144929913373</c:v>
                </c:pt>
                <c:pt idx="3">
                  <c:v>7.0658408200401479E-2</c:v>
                </c:pt>
                <c:pt idx="4">
                  <c:v>6.8770727729878953E-2</c:v>
                </c:pt>
                <c:pt idx="5">
                  <c:v>2.5977551047012572E-2</c:v>
                </c:pt>
                <c:pt idx="6">
                  <c:v>1.198161606558552E-2</c:v>
                </c:pt>
                <c:pt idx="7">
                  <c:v>4.6819440972454934E-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C$2:$C$9</c:f>
              <c:numCache>
                <c:formatCode>General</c:formatCode>
                <c:ptCount val="8"/>
                <c:pt idx="0">
                  <c:v>0.45487835909236735</c:v>
                </c:pt>
                <c:pt idx="1">
                  <c:v>8.7931053557401911E-2</c:v>
                </c:pt>
                <c:pt idx="2">
                  <c:v>0.20484793503634294</c:v>
                </c:pt>
                <c:pt idx="3">
                  <c:v>9.5498346037681564E-2</c:v>
                </c:pt>
                <c:pt idx="4">
                  <c:v>0.10788923430948459</c:v>
                </c:pt>
                <c:pt idx="5">
                  <c:v>3.2581398178981959E-2</c:v>
                </c:pt>
                <c:pt idx="6">
                  <c:v>1.637367378773966E-2</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D$2:$D$9</c:f>
              <c:numCache>
                <c:formatCode>General</c:formatCode>
                <c:ptCount val="8"/>
                <c:pt idx="0">
                  <c:v>0.80532654910914625</c:v>
                </c:pt>
                <c:pt idx="1">
                  <c:v>0.62086002073316693</c:v>
                </c:pt>
                <c:pt idx="2">
                  <c:v>1.7637797381771683</c:v>
                </c:pt>
                <c:pt idx="3">
                  <c:v>1.351549638180767</c:v>
                </c:pt>
                <c:pt idx="4">
                  <c:v>1.5688249618828702</c:v>
                </c:pt>
                <c:pt idx="5">
                  <c:v>1.2542136139014086</c:v>
                </c:pt>
                <c:pt idx="6">
                  <c:v>1.3665663878822933</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90928863633829238</c:v>
                </c:pt>
                <c:pt idx="1">
                  <c:v>8.9289807892067544E-2</c:v>
                </c:pt>
                <c:pt idx="2">
                  <c:v>1.421555769640087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79924717691342539</c:v>
                </c:pt>
                <c:pt idx="1">
                  <c:v>0.12421580928481808</c:v>
                </c:pt>
                <c:pt idx="2">
                  <c:v>7.65370138017565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0.87898071632347219</c:v>
                </c:pt>
                <c:pt idx="1">
                  <c:v>1.3911532818501375</c:v>
                </c:pt>
                <c:pt idx="2">
                  <c:v>53.8403173736436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9345956864738</c:v>
                </c:pt>
                <c:pt idx="1">
                  <c:v>6.540431352672705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1.0000065404741301</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Comfort 3</c:v>
                </c:pt>
                <c:pt idx="7">
                  <c:v>Van Der Hagen</c:v>
                </c:pt>
                <c:pt idx="8">
                  <c:v>Others</c:v>
                </c:pt>
              </c:strCache>
            </c:strRef>
          </c:cat>
          <c:val>
            <c:numRef>
              <c:f>Sheet1!$B$2:$B$10</c:f>
              <c:numCache>
                <c:formatCode>General</c:formatCode>
                <c:ptCount val="9"/>
                <c:pt idx="0">
                  <c:v>0.6182635657766159</c:v>
                </c:pt>
                <c:pt idx="1">
                  <c:v>0.18722367556157865</c:v>
                </c:pt>
                <c:pt idx="2">
                  <c:v>5.8906404971494332E-2</c:v>
                </c:pt>
                <c:pt idx="3">
                  <c:v>3.8609099767900716E-2</c:v>
                </c:pt>
                <c:pt idx="4">
                  <c:v>3.3453458305565988E-2</c:v>
                </c:pt>
                <c:pt idx="5">
                  <c:v>2.9502036126015829E-2</c:v>
                </c:pt>
                <c:pt idx="6">
                  <c:v>1.7170217377920939E-2</c:v>
                </c:pt>
                <c:pt idx="7">
                  <c:v>1.6700167215949389E-2</c:v>
                </c:pt>
                <c:pt idx="8">
                  <c:v>1.713748969582057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Comfort 3</c:v>
                </c:pt>
                <c:pt idx="7">
                  <c:v>Van Der Hagen</c:v>
                </c:pt>
                <c:pt idx="8">
                  <c:v>Others</c:v>
                </c:pt>
              </c:strCache>
            </c:strRef>
          </c:cat>
          <c:val>
            <c:numRef>
              <c:f>Sheet1!$C$2:$C$10</c:f>
              <c:numCache>
                <c:formatCode>General</c:formatCode>
                <c:ptCount val="9"/>
                <c:pt idx="0">
                  <c:v>0.505338904363974</c:v>
                </c:pt>
                <c:pt idx="1">
                  <c:v>0.14159702878365829</c:v>
                </c:pt>
                <c:pt idx="2">
                  <c:v>0.10863509749303621</c:v>
                </c:pt>
                <c:pt idx="3">
                  <c:v>4.828226555246054E-2</c:v>
                </c:pt>
                <c:pt idx="4">
                  <c:v>6.4531104921077068E-2</c:v>
                </c:pt>
                <c:pt idx="5">
                  <c:v>6.3602599814298985E-2</c:v>
                </c:pt>
                <c:pt idx="6">
                  <c:v>3.4818941504178275E-2</c:v>
                </c:pt>
                <c:pt idx="7">
                  <c:v>3.1104921077065927E-2</c:v>
                </c:pt>
                <c:pt idx="8">
                  <c:v>2.089136490250696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Comfort 3</c:v>
                </c:pt>
                <c:pt idx="7">
                  <c:v>Van Der Hagen</c:v>
                </c:pt>
                <c:pt idx="8">
                  <c:v>Others</c:v>
                </c:pt>
              </c:strCache>
            </c:strRef>
          </c:cat>
          <c:val>
            <c:numRef>
              <c:f>Sheet1!$D$2:$D$10</c:f>
              <c:numCache>
                <c:formatCode>General</c:formatCode>
                <c:ptCount val="9"/>
                <c:pt idx="0">
                  <c:v>0.81735190675388658</c:v>
                </c:pt>
                <c:pt idx="1">
                  <c:v>0.75629873390177316</c:v>
                </c:pt>
                <c:pt idx="2">
                  <c:v>1.8441983948198217</c:v>
                </c:pt>
                <c:pt idx="3">
                  <c:v>1.2505410859799952</c:v>
                </c:pt>
                <c:pt idx="4">
                  <c:v>1.9289815818635523</c:v>
                </c:pt>
                <c:pt idx="5">
                  <c:v>2.1558715318029251</c:v>
                </c:pt>
                <c:pt idx="6">
                  <c:v>2.0278684152800364</c:v>
                </c:pt>
                <c:pt idx="7">
                  <c:v>1.862551474775616</c:v>
                </c:pt>
                <c:pt idx="8">
                  <c:v>12.19044636835105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Dollar Shave Club</c:v>
                </c:pt>
                <c:pt idx="4">
                  <c:v>Schick</c:v>
                </c:pt>
                <c:pt idx="5">
                  <c:v>Equate</c:v>
                </c:pt>
                <c:pt idx="6">
                  <c:v>Comfort 3</c:v>
                </c:pt>
                <c:pt idx="7">
                  <c:v>Others</c:v>
                </c:pt>
              </c:strCache>
            </c:strRef>
          </c:cat>
          <c:val>
            <c:numRef>
              <c:f>Sheet1!$B$2:$B$9</c:f>
              <c:numCache>
                <c:formatCode>General</c:formatCode>
                <c:ptCount val="8"/>
                <c:pt idx="0">
                  <c:v>0.59012128868399372</c:v>
                </c:pt>
                <c:pt idx="1">
                  <c:v>0.20514442686203471</c:v>
                </c:pt>
                <c:pt idx="2">
                  <c:v>6.2632646200993888E-2</c:v>
                </c:pt>
                <c:pt idx="3">
                  <c:v>4.56218420807529E-2</c:v>
                </c:pt>
                <c:pt idx="4">
                  <c:v>4.141829608641405E-2</c:v>
                </c:pt>
                <c:pt idx="5">
                  <c:v>4.0043314347797926E-2</c:v>
                </c:pt>
                <c:pt idx="6">
                  <c:v>1.3853653151430251E-2</c:v>
                </c:pt>
                <c:pt idx="7">
                  <c:v>1.164532586582598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Dollar Shave Club</c:v>
                </c:pt>
                <c:pt idx="4">
                  <c:v>Schick</c:v>
                </c:pt>
                <c:pt idx="5">
                  <c:v>Equate</c:v>
                </c:pt>
                <c:pt idx="6">
                  <c:v>Comfort 3</c:v>
                </c:pt>
                <c:pt idx="7">
                  <c:v>Others</c:v>
                </c:pt>
              </c:strCache>
            </c:strRef>
          </c:cat>
          <c:val>
            <c:numRef>
              <c:f>Sheet1!$C$2:$C$9</c:f>
              <c:numCache>
                <c:formatCode>General</c:formatCode>
                <c:ptCount val="8"/>
                <c:pt idx="0">
                  <c:v>0.47100840336134464</c:v>
                </c:pt>
                <c:pt idx="1">
                  <c:v>0.16218487394957984</c:v>
                </c:pt>
                <c:pt idx="2">
                  <c:v>0.11680672268907563</c:v>
                </c:pt>
                <c:pt idx="3">
                  <c:v>7.9831932773109252E-2</c:v>
                </c:pt>
                <c:pt idx="4">
                  <c:v>4.957983193277312E-2</c:v>
                </c:pt>
                <c:pt idx="5">
                  <c:v>8.3613445378151255E-2</c:v>
                </c:pt>
                <c:pt idx="6">
                  <c:v>2.8991596638655463E-2</c:v>
                </c:pt>
                <c:pt idx="7">
                  <c:v>7.983193277310925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Dollar Shave Club</c:v>
                </c:pt>
                <c:pt idx="4">
                  <c:v>Schick</c:v>
                </c:pt>
                <c:pt idx="5">
                  <c:v>Equate</c:v>
                </c:pt>
                <c:pt idx="6">
                  <c:v>Comfort 3</c:v>
                </c:pt>
                <c:pt idx="7">
                  <c:v>Others</c:v>
                </c:pt>
              </c:strCache>
            </c:strRef>
          </c:cat>
          <c:val>
            <c:numRef>
              <c:f>Sheet1!$D$2:$D$9</c:f>
              <c:numCache>
                <c:formatCode>General</c:formatCode>
                <c:ptCount val="8"/>
                <c:pt idx="0">
                  <c:v>0.79815524773173663</c:v>
                </c:pt>
                <c:pt idx="1">
                  <c:v>0.79058873999367107</c:v>
                </c:pt>
                <c:pt idx="2">
                  <c:v>1.86494950754966</c:v>
                </c:pt>
                <c:pt idx="3">
                  <c:v>1.7498621084129573</c:v>
                </c:pt>
                <c:pt idx="4">
                  <c:v>1.1970514631826248</c:v>
                </c:pt>
                <c:pt idx="5">
                  <c:v>2.0880750442364255</c:v>
                </c:pt>
                <c:pt idx="6">
                  <c:v>2.092704091964535</c:v>
                </c:pt>
                <c:pt idx="7">
                  <c:v>6.8552768460847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B$2:$B$10</c:f>
              <c:numCache>
                <c:formatCode>General</c:formatCode>
                <c:ptCount val="9"/>
                <c:pt idx="0">
                  <c:v>0.57279520332439515</c:v>
                </c:pt>
                <c:pt idx="1">
                  <c:v>0.21145741906350762</c:v>
                </c:pt>
                <c:pt idx="2">
                  <c:v>6.7557284837587397E-2</c:v>
                </c:pt>
                <c:pt idx="3">
                  <c:v>4.4717781070534597E-2</c:v>
                </c:pt>
                <c:pt idx="4">
                  <c:v>3.8719220420717626E-2</c:v>
                </c:pt>
                <c:pt idx="5">
                  <c:v>2.9552303786982627E-2</c:v>
                </c:pt>
                <c:pt idx="6">
                  <c:v>1.8920839671646029E-2</c:v>
                </c:pt>
                <c:pt idx="7">
                  <c:v>1.5826887485151132E-2</c:v>
                </c:pt>
                <c:pt idx="8">
                  <c:v>4.5306033947779893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C$2:$C$10</c:f>
              <c:numCache>
                <c:formatCode>General</c:formatCode>
                <c:ptCount val="9"/>
                <c:pt idx="0">
                  <c:v>0.49403014288510477</c:v>
                </c:pt>
                <c:pt idx="1">
                  <c:v>0.13740458015267176</c:v>
                </c:pt>
                <c:pt idx="2">
                  <c:v>0.12370326874143667</c:v>
                </c:pt>
                <c:pt idx="3">
                  <c:v>6.2438833431199846E-2</c:v>
                </c:pt>
                <c:pt idx="4">
                  <c:v>5.9307105108631818E-2</c:v>
                </c:pt>
                <c:pt idx="5">
                  <c:v>5.7545507927187309E-2</c:v>
                </c:pt>
                <c:pt idx="6">
                  <c:v>3.092581718535917E-2</c:v>
                </c:pt>
                <c:pt idx="7">
                  <c:v>3.0730084165198669E-2</c:v>
                </c:pt>
                <c:pt idx="8">
                  <c:v>3.9146604032100213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D$2:$D$10</c:f>
              <c:numCache>
                <c:formatCode>General</c:formatCode>
                <c:ptCount val="9"/>
                <c:pt idx="0">
                  <c:v>0.86249001391395586</c:v>
                </c:pt>
                <c:pt idx="1">
                  <c:v>0.64979786834248954</c:v>
                </c:pt>
                <c:pt idx="2">
                  <c:v>1.8310870402626198</c:v>
                </c:pt>
                <c:pt idx="3">
                  <c:v>1.3962864868610843</c:v>
                </c:pt>
                <c:pt idx="4">
                  <c:v>1.5317226035082607</c:v>
                </c:pt>
                <c:pt idx="5">
                  <c:v>1.9472427037155491</c:v>
                </c:pt>
                <c:pt idx="6">
                  <c:v>1.6344843950928507</c:v>
                </c:pt>
                <c:pt idx="7">
                  <c:v>1.9416378737783908</c:v>
                </c:pt>
                <c:pt idx="8">
                  <c:v>8.64048353409634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082386189050302</c:v>
                </c:pt>
                <c:pt idx="1">
                  <c:v>0.18453803758152043</c:v>
                </c:pt>
                <c:pt idx="2">
                  <c:v>0.15328221133792058</c:v>
                </c:pt>
                <c:pt idx="3">
                  <c:v>0.11808405065965208</c:v>
                </c:pt>
                <c:pt idx="4">
                  <c:v>3.2718385304039222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86964905514846</c:v>
                </c:pt>
                <c:pt idx="1">
                  <c:v>0.26535383725414563</c:v>
                </c:pt>
                <c:pt idx="2">
                  <c:v>0.13890763594292321</c:v>
                </c:pt>
                <c:pt idx="3">
                  <c:v>0.15860007713073654</c:v>
                </c:pt>
                <c:pt idx="4">
                  <c:v>2.844195912070959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5569241549891275</c:v>
                </c:pt>
                <c:pt idx="1">
                  <c:v>1.4379357271366044</c:v>
                </c:pt>
                <c:pt idx="2">
                  <c:v>0.90622150300723625</c:v>
                </c:pt>
                <c:pt idx="3">
                  <c:v>1.3431117601805669</c:v>
                </c:pt>
                <c:pt idx="4">
                  <c:v>8.69295928158114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B$2:$B$5</c:f>
              <c:numCache>
                <c:formatCode>General</c:formatCode>
                <c:ptCount val="4"/>
                <c:pt idx="0">
                  <c:v>0.64685757162682911</c:v>
                </c:pt>
                <c:pt idx="1">
                  <c:v>0.30061391144213834</c:v>
                </c:pt>
                <c:pt idx="2">
                  <c:v>4.4594999991539257E-2</c:v>
                </c:pt>
                <c:pt idx="3">
                  <c:v>7.933516939493366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C$2:$C$5</c:f>
              <c:numCache>
                <c:formatCode>General</c:formatCode>
                <c:ptCount val="4"/>
                <c:pt idx="0">
                  <c:v>0.36050724637681159</c:v>
                </c:pt>
                <c:pt idx="1">
                  <c:v>0.38949275362318836</c:v>
                </c:pt>
                <c:pt idx="2">
                  <c:v>0.14492753623188406</c:v>
                </c:pt>
                <c:pt idx="3">
                  <c:v>0.105072463768115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D$2:$D$5</c:f>
              <c:numCache>
                <c:formatCode>General</c:formatCode>
                <c:ptCount val="4"/>
                <c:pt idx="0">
                  <c:v>0.55732090368849774</c:v>
                </c:pt>
                <c:pt idx="1">
                  <c:v>1.2956577816198545</c:v>
                </c:pt>
                <c:pt idx="2">
                  <c:v>3.2498606628406841</c:v>
                </c:pt>
                <c:pt idx="3">
                  <c:v>13.2441216889650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8060561431334312</c:v>
                </c:pt>
                <c:pt idx="1">
                  <c:v>0.40033726926049551</c:v>
                </c:pt>
                <c:pt idx="2">
                  <c:v>1.905711642616137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38194444444444448</c:v>
                </c:pt>
                <c:pt idx="1">
                  <c:v>0.58333333333333337</c:v>
                </c:pt>
                <c:pt idx="2">
                  <c:v>3.47222222222222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65783801435704936</c:v>
                </c:pt>
                <c:pt idx="1">
                  <c:v>1.4571047417365584</c:v>
                </c:pt>
                <c:pt idx="2">
                  <c:v>1.82200819083814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9178393832722365</c:v>
                </c:pt>
                <c:pt idx="1">
                  <c:v>0.16414064550992524</c:v>
                </c:pt>
                <c:pt idx="2">
                  <c:v>0.13480606533282488</c:v>
                </c:pt>
                <c:pt idx="3">
                  <c:v>0.10662706404701726</c:v>
                </c:pt>
                <c:pt idx="4">
                  <c:v>2.64228678300894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3693583800927044</c:v>
                </c:pt>
                <c:pt idx="1">
                  <c:v>0.25420834349841415</c:v>
                </c:pt>
                <c:pt idx="2">
                  <c:v>0.13979019272993412</c:v>
                </c:pt>
                <c:pt idx="3">
                  <c:v>0.14247377409124173</c:v>
                </c:pt>
                <c:pt idx="4">
                  <c:v>2.65918516711392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3833676399589809</c:v>
                </c:pt>
                <c:pt idx="1">
                  <c:v>1.5487226988091911</c:v>
                </c:pt>
                <c:pt idx="2">
                  <c:v>1.0369725752680627</c:v>
                </c:pt>
                <c:pt idx="3">
                  <c:v>1.3361877246138734</c:v>
                </c:pt>
                <c:pt idx="4">
                  <c:v>10.06395363369960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232810204621629</c:v>
                </c:pt>
                <c:pt idx="1">
                  <c:v>0.17466163350264091</c:v>
                </c:pt>
                <c:pt idx="2">
                  <c:v>0.16328107149783413</c:v>
                </c:pt>
                <c:pt idx="3">
                  <c:v>0.11709290612027616</c:v>
                </c:pt>
                <c:pt idx="4">
                  <c:v>2.636286833032484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346255175009416</c:v>
                </c:pt>
                <c:pt idx="1">
                  <c:v>0.23033496424538957</c:v>
                </c:pt>
                <c:pt idx="2">
                  <c:v>0.19119307489649984</c:v>
                </c:pt>
                <c:pt idx="3">
                  <c:v>0.15393300715092212</c:v>
                </c:pt>
                <c:pt idx="4">
                  <c:v>2.107640195709447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4394550130782588</c:v>
                </c:pt>
                <c:pt idx="1">
                  <c:v>1.3187496282170457</c:v>
                </c:pt>
                <c:pt idx="2">
                  <c:v>1.1709445139146821</c:v>
                </c:pt>
                <c:pt idx="3">
                  <c:v>1.3146228260216237</c:v>
                </c:pt>
                <c:pt idx="4">
                  <c:v>7.99473019893308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Edgewell Personal Care</c:v>
                </c:pt>
                <c:pt idx="2">
                  <c:v>Harrys</c:v>
                </c:pt>
                <c:pt idx="3">
                  <c:v>Bic</c:v>
                </c:pt>
                <c:pt idx="4">
                  <c:v>Others</c:v>
                </c:pt>
              </c:strCache>
            </c:strRef>
          </c:cat>
          <c:val>
            <c:numRef>
              <c:f>Sheet1!$B$2:$B$6</c:f>
              <c:numCache>
                <c:formatCode>General</c:formatCode>
                <c:ptCount val="5"/>
                <c:pt idx="0">
                  <c:v>0.8391616314870245</c:v>
                </c:pt>
                <c:pt idx="1">
                  <c:v>8.0330250724088836E-2</c:v>
                </c:pt>
                <c:pt idx="2">
                  <c:v>6.5429725633512126E-2</c:v>
                </c:pt>
                <c:pt idx="3">
                  <c:v>1.1916705761139099E-2</c:v>
                </c:pt>
                <c:pt idx="4">
                  <c:v>3.16168639423538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Edgewell Personal Care</c:v>
                </c:pt>
                <c:pt idx="2">
                  <c:v>Harrys</c:v>
                </c:pt>
                <c:pt idx="3">
                  <c:v>Bic</c:v>
                </c:pt>
                <c:pt idx="4">
                  <c:v>Others</c:v>
                </c:pt>
              </c:strCache>
            </c:strRef>
          </c:cat>
          <c:val>
            <c:numRef>
              <c:f>Sheet1!$C$2:$C$6</c:f>
              <c:numCache>
                <c:formatCode>General</c:formatCode>
                <c:ptCount val="5"/>
                <c:pt idx="0">
                  <c:v>0.61971830985915499</c:v>
                </c:pt>
                <c:pt idx="1">
                  <c:v>0.15937731653076354</c:v>
                </c:pt>
                <c:pt idx="2">
                  <c:v>7.3387694588584143E-2</c:v>
                </c:pt>
                <c:pt idx="3">
                  <c:v>5.9303187546330627E-2</c:v>
                </c:pt>
                <c:pt idx="4">
                  <c:v>8.821349147516678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Edgewell Personal Care</c:v>
                </c:pt>
                <c:pt idx="2">
                  <c:v>Harrys</c:v>
                </c:pt>
                <c:pt idx="3">
                  <c:v>Bic</c:v>
                </c:pt>
                <c:pt idx="4">
                  <c:v>Others</c:v>
                </c:pt>
              </c:strCache>
            </c:strRef>
          </c:cat>
          <c:val>
            <c:numRef>
              <c:f>Sheet1!$D$2:$D$6</c:f>
              <c:numCache>
                <c:formatCode>General</c:formatCode>
                <c:ptCount val="5"/>
                <c:pt idx="0">
                  <c:v>0.73849695530167647</c:v>
                </c:pt>
                <c:pt idx="1">
                  <c:v>1.9840261308056724</c:v>
                </c:pt>
                <c:pt idx="2">
                  <c:v>1.121626200905175</c:v>
                </c:pt>
                <c:pt idx="3">
                  <c:v>4.9764749365316145</c:v>
                </c:pt>
                <c:pt idx="4">
                  <c:v>27.9007720803694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3591446079632776</c:v>
                </c:pt>
                <c:pt idx="1">
                  <c:v>0.18718514906711023</c:v>
                </c:pt>
                <c:pt idx="2">
                  <c:v>0.15428671126987742</c:v>
                </c:pt>
                <c:pt idx="3">
                  <c:v>0.11923581654717222</c:v>
                </c:pt>
                <c:pt idx="4">
                  <c:v>3.37786231951242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667606958157032</c:v>
                </c:pt>
                <c:pt idx="1">
                  <c:v>0.26774800188058301</c:v>
                </c:pt>
                <c:pt idx="2">
                  <c:v>0.13657733897508231</c:v>
                </c:pt>
                <c:pt idx="3">
                  <c:v>0.16008462623413261</c:v>
                </c:pt>
                <c:pt idx="4">
                  <c:v>2.89139633286318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5884511303778013</c:v>
                </c:pt>
                <c:pt idx="1">
                  <c:v>1.430391263489547</c:v>
                </c:pt>
                <c:pt idx="2">
                  <c:v>0.88521777313784356</c:v>
                </c:pt>
                <c:pt idx="3">
                  <c:v>1.3425884173888283</c:v>
                </c:pt>
                <c:pt idx="4">
                  <c:v>8.559840690252126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B$2:$B$8</c:f>
              <c:numCache>
                <c:formatCode>General</c:formatCode>
                <c:ptCount val="7"/>
                <c:pt idx="0">
                  <c:v>0.64845903530310278</c:v>
                </c:pt>
                <c:pt idx="1">
                  <c:v>0.20224109939179227</c:v>
                </c:pt>
                <c:pt idx="2">
                  <c:v>5.1430100632834493E-2</c:v>
                </c:pt>
                <c:pt idx="3">
                  <c:v>4.5583978383688155E-2</c:v>
                </c:pt>
                <c:pt idx="4">
                  <c:v>2.9879671567027418E-2</c:v>
                </c:pt>
                <c:pt idx="5">
                  <c:v>2.1574179939746557E-2</c:v>
                </c:pt>
                <c:pt idx="6">
                  <c:v>8.319347818083350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C$2:$C$8</c:f>
              <c:numCache>
                <c:formatCode>General</c:formatCode>
                <c:ptCount val="7"/>
                <c:pt idx="0">
                  <c:v>0.60724196580431455</c:v>
                </c:pt>
                <c:pt idx="1">
                  <c:v>0.18248142511861065</c:v>
                </c:pt>
                <c:pt idx="2">
                  <c:v>7.6179393071345428E-2</c:v>
                </c:pt>
                <c:pt idx="3">
                  <c:v>6.8078059260585425E-2</c:v>
                </c:pt>
                <c:pt idx="4">
                  <c:v>2.7168561453764204E-2</c:v>
                </c:pt>
                <c:pt idx="5">
                  <c:v>3.3613821502103652E-2</c:v>
                </c:pt>
                <c:pt idx="6">
                  <c:v>5.236773789275802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D$2:$D$8</c:f>
              <c:numCache>
                <c:formatCode>General</c:formatCode>
                <c:ptCount val="7"/>
                <c:pt idx="0">
                  <c:v>0.93643843750357714</c:v>
                </c:pt>
                <c:pt idx="1">
                  <c:v>0.90229644551673382</c:v>
                </c:pt>
                <c:pt idx="2">
                  <c:v>1.4812219329532141</c:v>
                </c:pt>
                <c:pt idx="3">
                  <c:v>1.4934646267063558</c:v>
                </c:pt>
                <c:pt idx="4">
                  <c:v>0.90926573248365428</c:v>
                </c:pt>
                <c:pt idx="5">
                  <c:v>1.5580579005080148</c:v>
                </c:pt>
                <c:pt idx="6">
                  <c:v>6.29469268960349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68107556181751516</c:v>
                </c:pt>
                <c:pt idx="1">
                  <c:v>0.313926510063266</c:v>
                </c:pt>
                <c:pt idx="2">
                  <c:v>4.997928119218840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63882618510158018</c:v>
                </c:pt>
                <c:pt idx="1">
                  <c:v>0.2234762979683973</c:v>
                </c:pt>
                <c:pt idx="2">
                  <c:v>0.137697516930022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0.93796668228237634</c:v>
                </c:pt>
                <c:pt idx="1">
                  <c:v>0.71187456555790662</c:v>
                </c:pt>
                <c:pt idx="2">
                  <c:v>27.5509198302644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743809551962</c:v>
                </c:pt>
                <c:pt idx="1">
                  <c:v>2.561904480376797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1.0000256197011561</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Dollar Shave Club</c:v>
                </c:pt>
                <c:pt idx="3">
                  <c:v>Schick</c:v>
                </c:pt>
                <c:pt idx="4">
                  <c:v>Van Der Hagen</c:v>
                </c:pt>
                <c:pt idx="5">
                  <c:v>Equate</c:v>
                </c:pt>
                <c:pt idx="6">
                  <c:v>Others</c:v>
                </c:pt>
              </c:strCache>
            </c:strRef>
          </c:cat>
          <c:val>
            <c:numRef>
              <c:f>Sheet1!$B$2:$B$8</c:f>
              <c:numCache>
                <c:formatCode>General</c:formatCode>
                <c:ptCount val="7"/>
                <c:pt idx="0">
                  <c:v>0.68783737576687554</c:v>
                </c:pt>
                <c:pt idx="1">
                  <c:v>0.18097371641078247</c:v>
                </c:pt>
                <c:pt idx="2">
                  <c:v>4.2128204910829088E-2</c:v>
                </c:pt>
                <c:pt idx="3">
                  <c:v>4.1668856730277419E-2</c:v>
                </c:pt>
                <c:pt idx="4">
                  <c:v>2.5361219201347384E-2</c:v>
                </c:pt>
                <c:pt idx="5">
                  <c:v>2.1685868579228024E-2</c:v>
                </c:pt>
                <c:pt idx="6">
                  <c:v>3.447584006601276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Dollar Shave Club</c:v>
                </c:pt>
                <c:pt idx="3">
                  <c:v>Schick</c:v>
                </c:pt>
                <c:pt idx="4">
                  <c:v>Van Der Hagen</c:v>
                </c:pt>
                <c:pt idx="5">
                  <c:v>Equate</c:v>
                </c:pt>
                <c:pt idx="6">
                  <c:v>Others</c:v>
                </c:pt>
              </c:strCache>
            </c:strRef>
          </c:cat>
          <c:val>
            <c:numRef>
              <c:f>Sheet1!$C$2:$C$8</c:f>
              <c:numCache>
                <c:formatCode>General</c:formatCode>
                <c:ptCount val="7"/>
                <c:pt idx="0">
                  <c:v>0.61141304347826086</c:v>
                </c:pt>
                <c:pt idx="1">
                  <c:v>0.18858695652173912</c:v>
                </c:pt>
                <c:pt idx="2">
                  <c:v>7.9347826086956522E-2</c:v>
                </c:pt>
                <c:pt idx="3">
                  <c:v>5.0543478260869572E-2</c:v>
                </c:pt>
                <c:pt idx="4">
                  <c:v>2.9347826086956526E-2</c:v>
                </c:pt>
                <c:pt idx="5">
                  <c:v>3.8043478260869568E-2</c:v>
                </c:pt>
                <c:pt idx="6">
                  <c:v>2.7173913043478264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Dollar Shave Club</c:v>
                </c:pt>
                <c:pt idx="3">
                  <c:v>Schick</c:v>
                </c:pt>
                <c:pt idx="4">
                  <c:v>Van Der Hagen</c:v>
                </c:pt>
                <c:pt idx="5">
                  <c:v>Equate</c:v>
                </c:pt>
                <c:pt idx="6">
                  <c:v>Others</c:v>
                </c:pt>
              </c:strCache>
            </c:strRef>
          </c:cat>
          <c:val>
            <c:numRef>
              <c:f>Sheet1!$D$2:$D$8</c:f>
              <c:numCache>
                <c:formatCode>General</c:formatCode>
                <c:ptCount val="7"/>
                <c:pt idx="0">
                  <c:v>0.88889185877198296</c:v>
                </c:pt>
                <c:pt idx="1">
                  <c:v>1.0420682089197735</c:v>
                </c:pt>
                <c:pt idx="2">
                  <c:v>1.8834846216426397</c:v>
                </c:pt>
                <c:pt idx="3">
                  <c:v>1.2129797221948659</c:v>
                </c:pt>
                <c:pt idx="4">
                  <c:v>1.1571930297971378</c:v>
                </c:pt>
                <c:pt idx="5">
                  <c:v>1.7542981099364314</c:v>
                </c:pt>
                <c:pt idx="6">
                  <c:v>7.88201621525302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B$2:$B$7</c:f>
              <c:numCache>
                <c:formatCode>General</c:formatCode>
                <c:ptCount val="6"/>
                <c:pt idx="0">
                  <c:v>0.66462879645305817</c:v>
                </c:pt>
                <c:pt idx="1">
                  <c:v>0.18553105912505027</c:v>
                </c:pt>
                <c:pt idx="2">
                  <c:v>6.0854558549794685E-2</c:v>
                </c:pt>
                <c:pt idx="3">
                  <c:v>5.4170930417457838E-2</c:v>
                </c:pt>
                <c:pt idx="4">
                  <c:v>3.2748599276019794E-2</c:v>
                </c:pt>
                <c:pt idx="5">
                  <c:v>2.066056178619199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C$2:$C$7</c:f>
              <c:numCache>
                <c:formatCode>General</c:formatCode>
                <c:ptCount val="6"/>
                <c:pt idx="0">
                  <c:v>0.56776947705442915</c:v>
                </c:pt>
                <c:pt idx="1">
                  <c:v>0.19530416221985061</c:v>
                </c:pt>
                <c:pt idx="2">
                  <c:v>0.1088580576307364</c:v>
                </c:pt>
                <c:pt idx="3">
                  <c:v>6.5101387406616862E-2</c:v>
                </c:pt>
                <c:pt idx="4">
                  <c:v>5.6563500533617937E-2</c:v>
                </c:pt>
                <c:pt idx="5">
                  <c:v>6.403415154749199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D$2:$D$7</c:f>
              <c:numCache>
                <c:formatCode>General</c:formatCode>
                <c:ptCount val="6"/>
                <c:pt idx="0">
                  <c:v>0.8542655390263848</c:v>
                </c:pt>
                <c:pt idx="1">
                  <c:v>1.0526763720365178</c:v>
                </c:pt>
                <c:pt idx="2">
                  <c:v>1.7888233885003455</c:v>
                </c:pt>
                <c:pt idx="3">
                  <c:v>1.2017771691371288</c:v>
                </c:pt>
                <c:pt idx="4">
                  <c:v>1.7272036601283474</c:v>
                </c:pt>
                <c:pt idx="5">
                  <c:v>3.09934222554818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B$2:$B$8</c:f>
              <c:numCache>
                <c:formatCode>General</c:formatCode>
                <c:ptCount val="7"/>
                <c:pt idx="0">
                  <c:v>0.64471932029990753</c:v>
                </c:pt>
                <c:pt idx="1">
                  <c:v>0.20469757345628167</c:v>
                </c:pt>
                <c:pt idx="2">
                  <c:v>5.1987613451472806E-2</c:v>
                </c:pt>
                <c:pt idx="3">
                  <c:v>4.4998435929086082E-2</c:v>
                </c:pt>
                <c:pt idx="4">
                  <c:v>3.1729960754940188E-2</c:v>
                </c:pt>
                <c:pt idx="5">
                  <c:v>2.095429977545837E-2</c:v>
                </c:pt>
                <c:pt idx="6">
                  <c:v>9.1279633285338169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C$2:$C$8</c:f>
              <c:numCache>
                <c:formatCode>General</c:formatCode>
                <c:ptCount val="7"/>
                <c:pt idx="0">
                  <c:v>0.60806794055201707</c:v>
                </c:pt>
                <c:pt idx="1">
                  <c:v>0.18174097664543523</c:v>
                </c:pt>
                <c:pt idx="2">
                  <c:v>7.8131634819532919E-2</c:v>
                </c:pt>
                <c:pt idx="3">
                  <c:v>6.6242038216560523E-2</c:v>
                </c:pt>
                <c:pt idx="4">
                  <c:v>2.7600849256900217E-2</c:v>
                </c:pt>
                <c:pt idx="5">
                  <c:v>3.2696390658174104E-2</c:v>
                </c:pt>
                <c:pt idx="6">
                  <c:v>5.520169851380043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D$2:$D$8</c:f>
              <c:numCache>
                <c:formatCode>General</c:formatCode>
                <c:ptCount val="7"/>
                <c:pt idx="0">
                  <c:v>0.94315141706806438</c:v>
                </c:pt>
                <c:pt idx="1">
                  <c:v>0.88785115317573904</c:v>
                </c:pt>
                <c:pt idx="2">
                  <c:v>1.5028894313924206</c:v>
                </c:pt>
                <c:pt idx="3">
                  <c:v>1.4720964595514532</c:v>
                </c:pt>
                <c:pt idx="4">
                  <c:v>0.86986710982940341</c:v>
                </c:pt>
                <c:pt idx="5">
                  <c:v>1.5603666554617133</c:v>
                </c:pt>
                <c:pt idx="6">
                  <c:v>6.04753727934479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B$2:$B$8</c:f>
              <c:numCache>
                <c:formatCode>General</c:formatCode>
                <c:ptCount val="7"/>
                <c:pt idx="0">
                  <c:v>0.61709939318599438</c:v>
                </c:pt>
                <c:pt idx="1">
                  <c:v>0.24341488493153948</c:v>
                </c:pt>
                <c:pt idx="2">
                  <c:v>4.6230713935869937E-2</c:v>
                </c:pt>
                <c:pt idx="3">
                  <c:v>4.0291297693214836E-2</c:v>
                </c:pt>
                <c:pt idx="4">
                  <c:v>3.9220718455250554E-2</c:v>
                </c:pt>
                <c:pt idx="5">
                  <c:v>1.3513482367956495E-2</c:v>
                </c:pt>
                <c:pt idx="6">
                  <c:v>2.2950943017434677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C$2:$C$8</c:f>
              <c:numCache>
                <c:formatCode>General</c:formatCode>
                <c:ptCount val="7"/>
                <c:pt idx="0">
                  <c:v>0.55600461893764441</c:v>
                </c:pt>
                <c:pt idx="1">
                  <c:v>0.14124501364686123</c:v>
                </c:pt>
                <c:pt idx="2">
                  <c:v>6.7656938904052083E-2</c:v>
                </c:pt>
                <c:pt idx="3">
                  <c:v>7.4742809153894613E-2</c:v>
                </c:pt>
                <c:pt idx="4">
                  <c:v>0.11116943103086292</c:v>
                </c:pt>
                <c:pt idx="5">
                  <c:v>4.5821960948981742E-2</c:v>
                </c:pt>
                <c:pt idx="6">
                  <c:v>3.359227377703129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D$2:$D$8</c:f>
              <c:numCache>
                <c:formatCode>General</c:formatCode>
                <c:ptCount val="7"/>
                <c:pt idx="0">
                  <c:v>0.90099686545966839</c:v>
                </c:pt>
                <c:pt idx="1">
                  <c:v>0.58026448828955735</c:v>
                </c:pt>
                <c:pt idx="2">
                  <c:v>1.4634629912465564</c:v>
                </c:pt>
                <c:pt idx="3">
                  <c:v>1.855060855150404</c:v>
                </c:pt>
                <c:pt idx="4">
                  <c:v>2.8344567720681426</c:v>
                </c:pt>
                <c:pt idx="5">
                  <c:v>3.3908329253187848</c:v>
                </c:pt>
                <c:pt idx="6">
                  <c:v>14.63655491258591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9980052238835</c:v>
                </c:pt>
                <c:pt idx="1">
                  <c:v>1.9947761165745713E-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1.0000001994776515</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Others</c:v>
                </c:pt>
              </c:strCache>
            </c:strRef>
          </c:cat>
          <c:val>
            <c:numRef>
              <c:f>Sheet1!$B$2:$B$4</c:f>
              <c:numCache>
                <c:formatCode>General</c:formatCode>
                <c:ptCount val="3"/>
                <c:pt idx="0">
                  <c:v>0.89179053563435384</c:v>
                </c:pt>
                <c:pt idx="1">
                  <c:v>0.10329115673335629</c:v>
                </c:pt>
                <c:pt idx="2">
                  <c:v>4.918185474731092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Others</c:v>
                </c:pt>
              </c:strCache>
            </c:strRef>
          </c:cat>
          <c:val>
            <c:numRef>
              <c:f>Sheet1!$C$2:$C$4</c:f>
              <c:numCache>
                <c:formatCode>General</c:formatCode>
                <c:ptCount val="3"/>
                <c:pt idx="0">
                  <c:v>0.78239608801955984</c:v>
                </c:pt>
                <c:pt idx="1">
                  <c:v>0.20537897310513448</c:v>
                </c:pt>
                <c:pt idx="2">
                  <c:v>1.22249388753056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Others</c:v>
                </c:pt>
              </c:strCache>
            </c:strRef>
          </c:cat>
          <c:val>
            <c:numRef>
              <c:f>Sheet1!$D$2:$D$4</c:f>
              <c:numCache>
                <c:formatCode>General</c:formatCode>
                <c:ptCount val="3"/>
                <c:pt idx="0">
                  <c:v>0.87733167908428311</c:v>
                </c:pt>
                <c:pt idx="1">
                  <c:v>1.9883500156292713</c:v>
                </c:pt>
                <c:pt idx="2">
                  <c:v>2.48566040018530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Equate</c:v>
                </c:pt>
                <c:pt idx="4">
                  <c:v>Dollar Shave Club</c:v>
                </c:pt>
                <c:pt idx="5">
                  <c:v>Van Der Hagen</c:v>
                </c:pt>
                <c:pt idx="6">
                  <c:v>Others</c:v>
                </c:pt>
              </c:strCache>
            </c:strRef>
          </c:cat>
          <c:val>
            <c:numRef>
              <c:f>Sheet1!$B$2:$B$8</c:f>
              <c:numCache>
                <c:formatCode>General</c:formatCode>
                <c:ptCount val="7"/>
                <c:pt idx="0">
                  <c:v>0.65871033624482334</c:v>
                </c:pt>
                <c:pt idx="1">
                  <c:v>0.21478330524000885</c:v>
                </c:pt>
                <c:pt idx="2">
                  <c:v>4.1854895900275232E-2</c:v>
                </c:pt>
                <c:pt idx="3">
                  <c:v>3.7673563884695019E-2</c:v>
                </c:pt>
                <c:pt idx="4">
                  <c:v>3.2889977513461635E-2</c:v>
                </c:pt>
                <c:pt idx="5">
                  <c:v>1.3991703065241055E-2</c:v>
                </c:pt>
                <c:pt idx="6">
                  <c:v>9.6218151494885599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Equate</c:v>
                </c:pt>
                <c:pt idx="4">
                  <c:v>Dollar Shave Club</c:v>
                </c:pt>
                <c:pt idx="5">
                  <c:v>Van Der Hagen</c:v>
                </c:pt>
                <c:pt idx="6">
                  <c:v>Others</c:v>
                </c:pt>
              </c:strCache>
            </c:strRef>
          </c:cat>
          <c:val>
            <c:numRef>
              <c:f>Sheet1!$C$2:$C$8</c:f>
              <c:numCache>
                <c:formatCode>General</c:formatCode>
                <c:ptCount val="7"/>
                <c:pt idx="0">
                  <c:v>0.56864864864864884</c:v>
                </c:pt>
                <c:pt idx="1">
                  <c:v>0.14216216216216215</c:v>
                </c:pt>
                <c:pt idx="2">
                  <c:v>6.2162162162162173E-2</c:v>
                </c:pt>
                <c:pt idx="3">
                  <c:v>0.11027027027027027</c:v>
                </c:pt>
                <c:pt idx="4">
                  <c:v>7.1351351351351344E-2</c:v>
                </c:pt>
                <c:pt idx="5">
                  <c:v>4.3243243243243246E-2</c:v>
                </c:pt>
                <c:pt idx="6">
                  <c:v>2.1621621621621622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Equate</c:v>
                </c:pt>
                <c:pt idx="4">
                  <c:v>Dollar Shave Club</c:v>
                </c:pt>
                <c:pt idx="5">
                  <c:v>Van Der Hagen</c:v>
                </c:pt>
                <c:pt idx="6">
                  <c:v>Others</c:v>
                </c:pt>
              </c:strCache>
            </c:strRef>
          </c:cat>
          <c:val>
            <c:numRef>
              <c:f>Sheet1!$D$2:$D$8</c:f>
              <c:numCache>
                <c:formatCode>General</c:formatCode>
                <c:ptCount val="7"/>
                <c:pt idx="0">
                  <c:v>0.86327573344362818</c:v>
                </c:pt>
                <c:pt idx="1">
                  <c:v>0.66188646274580576</c:v>
                </c:pt>
                <c:pt idx="2">
                  <c:v>1.4851825772132288</c:v>
                </c:pt>
                <c:pt idx="3">
                  <c:v>2.9269933316573709</c:v>
                </c:pt>
                <c:pt idx="4">
                  <c:v>2.1693949569332402</c:v>
                </c:pt>
                <c:pt idx="5">
                  <c:v>3.0906347169895598</c:v>
                </c:pt>
                <c:pt idx="6">
                  <c:v>22.4714581247914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Equate</c:v>
                </c:pt>
                <c:pt idx="3">
                  <c:v>Dollar Shave Club</c:v>
                </c:pt>
                <c:pt idx="4">
                  <c:v>Schick</c:v>
                </c:pt>
                <c:pt idx="5">
                  <c:v>Others</c:v>
                </c:pt>
              </c:strCache>
            </c:strRef>
          </c:cat>
          <c:val>
            <c:numRef>
              <c:f>Sheet1!$B$2:$B$7</c:f>
              <c:numCache>
                <c:formatCode>General</c:formatCode>
                <c:ptCount val="6"/>
                <c:pt idx="0">
                  <c:v>0.62568502670852777</c:v>
                </c:pt>
                <c:pt idx="1">
                  <c:v>0.24117258792104182</c:v>
                </c:pt>
                <c:pt idx="2">
                  <c:v>4.8878093988261435E-2</c:v>
                </c:pt>
                <c:pt idx="3">
                  <c:v>4.3446221986879467E-2</c:v>
                </c:pt>
                <c:pt idx="4">
                  <c:v>3.9975640468725468E-2</c:v>
                </c:pt>
                <c:pt idx="5">
                  <c:v>8.424289265640474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Equate</c:v>
                </c:pt>
                <c:pt idx="3">
                  <c:v>Dollar Shave Club</c:v>
                </c:pt>
                <c:pt idx="4">
                  <c:v>Schick</c:v>
                </c:pt>
                <c:pt idx="5">
                  <c:v>Others</c:v>
                </c:pt>
              </c:strCache>
            </c:strRef>
          </c:cat>
          <c:val>
            <c:numRef>
              <c:f>Sheet1!$C$2:$C$7</c:f>
              <c:numCache>
                <c:formatCode>General</c:formatCode>
                <c:ptCount val="6"/>
                <c:pt idx="0">
                  <c:v>0.53740875912408748</c:v>
                </c:pt>
                <c:pt idx="1">
                  <c:v>0.18521897810218974</c:v>
                </c:pt>
                <c:pt idx="2">
                  <c:v>0.13321167883211676</c:v>
                </c:pt>
                <c:pt idx="3">
                  <c:v>8.0291970802919707E-2</c:v>
                </c:pt>
                <c:pt idx="4">
                  <c:v>5.2007299270072992E-2</c:v>
                </c:pt>
                <c:pt idx="5">
                  <c:v>1.186131386861313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Equate</c:v>
                </c:pt>
                <c:pt idx="3">
                  <c:v>Dollar Shave Club</c:v>
                </c:pt>
                <c:pt idx="4">
                  <c:v>Schick</c:v>
                </c:pt>
                <c:pt idx="5">
                  <c:v>Others</c:v>
                </c:pt>
              </c:strCache>
            </c:strRef>
          </c:cat>
          <c:val>
            <c:numRef>
              <c:f>Sheet1!$D$2:$D$7</c:f>
              <c:numCache>
                <c:formatCode>General</c:formatCode>
                <c:ptCount val="6"/>
                <c:pt idx="0">
                  <c:v>0.85891260967387129</c:v>
                </c:pt>
                <c:pt idx="1">
                  <c:v>0.76799349253916493</c:v>
                </c:pt>
                <c:pt idx="2">
                  <c:v>2.7253861180452104</c:v>
                </c:pt>
                <c:pt idx="3">
                  <c:v>1.8480771660000141</c:v>
                </c:pt>
                <c:pt idx="4">
                  <c:v>1.3009747601357473</c:v>
                </c:pt>
                <c:pt idx="5">
                  <c:v>14.079898605798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B$2:$B$8</c:f>
              <c:numCache>
                <c:formatCode>General</c:formatCode>
                <c:ptCount val="7"/>
                <c:pt idx="0">
                  <c:v>0.6134744192881163</c:v>
                </c:pt>
                <c:pt idx="1">
                  <c:v>0.24568657206703032</c:v>
                </c:pt>
                <c:pt idx="2">
                  <c:v>4.6936934837158432E-2</c:v>
                </c:pt>
                <c:pt idx="3">
                  <c:v>4.065174855644748E-2</c:v>
                </c:pt>
                <c:pt idx="4">
                  <c:v>3.8749661801431017E-2</c:v>
                </c:pt>
                <c:pt idx="5">
                  <c:v>1.4247753589506092E-2</c:v>
                </c:pt>
                <c:pt idx="6">
                  <c:v>2.5290986031033193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C$2:$C$8</c:f>
              <c:numCache>
                <c:formatCode>General</c:formatCode>
                <c:ptCount val="7"/>
                <c:pt idx="0">
                  <c:v>0.55572519083969474</c:v>
                </c:pt>
                <c:pt idx="1">
                  <c:v>0.13944020356234099</c:v>
                </c:pt>
                <c:pt idx="2">
                  <c:v>6.8702290076335881E-2</c:v>
                </c:pt>
                <c:pt idx="3">
                  <c:v>7.4809160305343514E-2</c:v>
                </c:pt>
                <c:pt idx="4">
                  <c:v>0.11043256997455471</c:v>
                </c:pt>
                <c:pt idx="5">
                  <c:v>4.7328244274809167E-2</c:v>
                </c:pt>
                <c:pt idx="6">
                  <c:v>3.5623409669211202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D$2:$D$8</c:f>
              <c:numCache>
                <c:formatCode>General</c:formatCode>
                <c:ptCount val="7"/>
                <c:pt idx="0">
                  <c:v>0.9058653032094891</c:v>
                </c:pt>
                <c:pt idx="1">
                  <c:v>0.56755321379264356</c:v>
                </c:pt>
                <c:pt idx="2">
                  <c:v>1.4637148828463022</c:v>
                </c:pt>
                <c:pt idx="3">
                  <c:v>1.8402445887774384</c:v>
                </c:pt>
                <c:pt idx="4">
                  <c:v>2.8498976466028525</c:v>
                </c:pt>
                <c:pt idx="5">
                  <c:v>3.3218039586021386</c:v>
                </c:pt>
                <c:pt idx="6">
                  <c:v>14.0854174785829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Universal Beauty Prods Inc</c:v>
                </c:pt>
              </c:strCache>
            </c:strRef>
          </c:cat>
          <c:val>
            <c:numRef>
              <c:f>Sheet1!$B$2:$B$8</c:f>
              <c:numCache>
                <c:formatCode>General</c:formatCode>
                <c:ptCount val="7"/>
                <c:pt idx="0">
                  <c:v>0.60821345079648781</c:v>
                </c:pt>
                <c:pt idx="1">
                  <c:v>0.11716739610818547</c:v>
                </c:pt>
                <c:pt idx="2">
                  <c:v>0.10950056534360224</c:v>
                </c:pt>
                <c:pt idx="3">
                  <c:v>6.9469275220367055E-2</c:v>
                </c:pt>
                <c:pt idx="4">
                  <c:v>6.4530133515115273E-2</c:v>
                </c:pt>
                <c:pt idx="5">
                  <c:v>2.0756485770872024E-2</c:v>
                </c:pt>
                <c:pt idx="6">
                  <c:v>1.036176230340178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Universal Beauty Prods Inc</c:v>
                </c:pt>
              </c:strCache>
            </c:strRef>
          </c:cat>
          <c:val>
            <c:numRef>
              <c:f>Sheet1!$C$2:$C$8</c:f>
              <c:numCache>
                <c:formatCode>General</c:formatCode>
                <c:ptCount val="7"/>
                <c:pt idx="0">
                  <c:v>0.47198762935648869</c:v>
                </c:pt>
                <c:pt idx="1">
                  <c:v>8.5523968121803254E-2</c:v>
                </c:pt>
                <c:pt idx="2">
                  <c:v>0.19745450220054717</c:v>
                </c:pt>
                <c:pt idx="3">
                  <c:v>0.10074937552039966</c:v>
                </c:pt>
                <c:pt idx="4">
                  <c:v>9.5277744736529085E-2</c:v>
                </c:pt>
                <c:pt idx="5">
                  <c:v>3.3067681693826574E-2</c:v>
                </c:pt>
                <c:pt idx="6">
                  <c:v>1.593909837040561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Universal Beauty Prods Inc</c:v>
                </c:pt>
              </c:strCache>
            </c:strRef>
          </c:cat>
          <c:val>
            <c:numRef>
              <c:f>Sheet1!$D$2:$D$8</c:f>
              <c:numCache>
                <c:formatCode>General</c:formatCode>
                <c:ptCount val="7"/>
                <c:pt idx="0">
                  <c:v>0.77602300432257099</c:v>
                </c:pt>
                <c:pt idx="1">
                  <c:v>0.72992974976447766</c:v>
                </c:pt>
                <c:pt idx="2">
                  <c:v>1.803228153032397</c:v>
                </c:pt>
                <c:pt idx="3">
                  <c:v>1.4502724434767369</c:v>
                </c:pt>
                <c:pt idx="4">
                  <c:v>1.4764845436777474</c:v>
                </c:pt>
                <c:pt idx="5">
                  <c:v>1.5931252553469859</c:v>
                </c:pt>
                <c:pt idx="6">
                  <c:v>1.53826134046452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Others</c:v>
                </c:pt>
              </c:strCache>
            </c:strRef>
          </c:cat>
          <c:val>
            <c:numRef>
              <c:f>Sheet1!$B$2:$B$8</c:f>
              <c:numCache>
                <c:formatCode>General</c:formatCode>
                <c:ptCount val="7"/>
                <c:pt idx="0">
                  <c:v>0.57215875792109039</c:v>
                </c:pt>
                <c:pt idx="1">
                  <c:v>0.12903402387555485</c:v>
                </c:pt>
                <c:pt idx="2">
                  <c:v>0.11338439265590908</c:v>
                </c:pt>
                <c:pt idx="3">
                  <c:v>8.6360836984151618E-2</c:v>
                </c:pt>
                <c:pt idx="4">
                  <c:v>6.9862254030851598E-2</c:v>
                </c:pt>
                <c:pt idx="5">
                  <c:v>2.8475386707381922E-2</c:v>
                </c:pt>
                <c:pt idx="6">
                  <c:v>7.2386829551296091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Others</c:v>
                </c:pt>
              </c:strCache>
            </c:strRef>
          </c:cat>
          <c:val>
            <c:numRef>
              <c:f>Sheet1!$C$2:$C$8</c:f>
              <c:numCache>
                <c:formatCode>General</c:formatCode>
                <c:ptCount val="7"/>
                <c:pt idx="0">
                  <c:v>0.43537820131030386</c:v>
                </c:pt>
                <c:pt idx="1">
                  <c:v>8.7750645225332546E-2</c:v>
                </c:pt>
                <c:pt idx="2">
                  <c:v>0.19039110581695451</c:v>
                </c:pt>
                <c:pt idx="3">
                  <c:v>0.14036132618622196</c:v>
                </c:pt>
                <c:pt idx="4">
                  <c:v>0.10462576930712728</c:v>
                </c:pt>
                <c:pt idx="5">
                  <c:v>3.7720865594599959E-2</c:v>
                </c:pt>
                <c:pt idx="6">
                  <c:v>3.7720865594599961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Others</c:v>
                </c:pt>
              </c:strCache>
            </c:strRef>
          </c:cat>
          <c:val>
            <c:numRef>
              <c:f>Sheet1!$D$2:$D$8</c:f>
              <c:numCache>
                <c:formatCode>General</c:formatCode>
                <c:ptCount val="7"/>
                <c:pt idx="0">
                  <c:v>0.76093950373534136</c:v>
                </c:pt>
                <c:pt idx="1">
                  <c:v>0.68005819387576794</c:v>
                </c:pt>
                <c:pt idx="2">
                  <c:v>1.6791650187229907</c:v>
                </c:pt>
                <c:pt idx="3">
                  <c:v>1.6252890903776229</c:v>
                </c:pt>
                <c:pt idx="4">
                  <c:v>1.4976008254890245</c:v>
                </c:pt>
                <c:pt idx="5">
                  <c:v>1.3246831722506951</c:v>
                </c:pt>
                <c:pt idx="6">
                  <c:v>5.21101225574046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B$2:$B$9</c:f>
              <c:numCache>
                <c:formatCode>General</c:formatCode>
                <c:ptCount val="8"/>
                <c:pt idx="0">
                  <c:v>0.5609059526671718</c:v>
                </c:pt>
                <c:pt idx="1">
                  <c:v>0.14437866093188914</c:v>
                </c:pt>
                <c:pt idx="2">
                  <c:v>0.11684652230384927</c:v>
                </c:pt>
                <c:pt idx="3">
                  <c:v>6.9762997627676876E-2</c:v>
                </c:pt>
                <c:pt idx="4">
                  <c:v>6.904104765254232E-2</c:v>
                </c:pt>
                <c:pt idx="5">
                  <c:v>2.6237580678757276E-2</c:v>
                </c:pt>
                <c:pt idx="6">
                  <c:v>1.2821323280886886E-2</c:v>
                </c:pt>
                <c:pt idx="7">
                  <c:v>5.3517590955251628E-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C$2:$C$9</c:f>
              <c:numCache>
                <c:formatCode>General</c:formatCode>
                <c:ptCount val="8"/>
                <c:pt idx="0">
                  <c:v>0.4543415571932074</c:v>
                </c:pt>
                <c:pt idx="1">
                  <c:v>8.8112784363985897E-2</c:v>
                </c:pt>
                <c:pt idx="2">
                  <c:v>0.20591690697426038</c:v>
                </c:pt>
                <c:pt idx="3">
                  <c:v>9.3452953113318374E-2</c:v>
                </c:pt>
                <c:pt idx="4">
                  <c:v>0.10893944248638256</c:v>
                </c:pt>
                <c:pt idx="5">
                  <c:v>3.2361422620954816E-2</c:v>
                </c:pt>
                <c:pt idx="6">
                  <c:v>1.6874933247890633E-2</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D$2:$D$9</c:f>
              <c:numCache>
                <c:formatCode>General</c:formatCode>
                <c:ptCount val="8"/>
                <c:pt idx="0">
                  <c:v>0.81001379114049599</c:v>
                </c:pt>
                <c:pt idx="1">
                  <c:v>0.6102895247487663</c:v>
                </c:pt>
                <c:pt idx="2">
                  <c:v>1.7622852859821645</c:v>
                </c:pt>
                <c:pt idx="3">
                  <c:v>1.3395776599519722</c:v>
                </c:pt>
                <c:pt idx="4">
                  <c:v>1.5778938210010063</c:v>
                </c:pt>
                <c:pt idx="5">
                  <c:v>1.2333996421840672</c:v>
                </c:pt>
                <c:pt idx="6">
                  <c:v>1.3161615909838713</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B$2:$B$9</c:f>
              <c:numCache>
                <c:formatCode>General</c:formatCode>
                <c:ptCount val="8"/>
                <c:pt idx="0">
                  <c:v>0.57662833609349229</c:v>
                </c:pt>
                <c:pt idx="1">
                  <c:v>0.20956447897778954</c:v>
                </c:pt>
                <c:pt idx="2">
                  <c:v>8.255687302641837E-2</c:v>
                </c:pt>
                <c:pt idx="3">
                  <c:v>4.4556517922937348E-2</c:v>
                </c:pt>
                <c:pt idx="4">
                  <c:v>3.8733231796975069E-2</c:v>
                </c:pt>
                <c:pt idx="5">
                  <c:v>3.0087863071349849E-2</c:v>
                </c:pt>
                <c:pt idx="6">
                  <c:v>1.786491388394575E-2</c:v>
                </c:pt>
                <c:pt idx="7">
                  <c:v>3.0351762541116091E-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C$2:$C$9</c:f>
              <c:numCache>
                <c:formatCode>General</c:formatCode>
                <c:ptCount val="8"/>
                <c:pt idx="0">
                  <c:v>0.49405942618760357</c:v>
                </c:pt>
                <c:pt idx="1">
                  <c:v>0.13840207766712337</c:v>
                </c:pt>
                <c:pt idx="2">
                  <c:v>0.1535142430625141</c:v>
                </c:pt>
                <c:pt idx="3">
                  <c:v>6.4865749166683723E-2</c:v>
                </c:pt>
                <c:pt idx="4">
                  <c:v>6.0223717306394552E-2</c:v>
                </c:pt>
                <c:pt idx="5">
                  <c:v>5.8669556859777927E-2</c:v>
                </c:pt>
                <c:pt idx="6">
                  <c:v>3.0265229749902867E-2</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D$2:$D$9</c:f>
              <c:numCache>
                <c:formatCode>General</c:formatCode>
                <c:ptCount val="8"/>
                <c:pt idx="0">
                  <c:v>0.85680740134057287</c:v>
                </c:pt>
                <c:pt idx="1">
                  <c:v>0.66042717898672021</c:v>
                </c:pt>
                <c:pt idx="2">
                  <c:v>1.8594968224316009</c:v>
                </c:pt>
                <c:pt idx="3">
                  <c:v>1.4558083124644563</c:v>
                </c:pt>
                <c:pt idx="4">
                  <c:v>1.5548332662263884</c:v>
                </c:pt>
                <c:pt idx="5">
                  <c:v>1.9499409685775932</c:v>
                </c:pt>
                <c:pt idx="6">
                  <c:v>1.6941156249905365</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B$2:$B$4</c:f>
              <c:numCache>
                <c:formatCode>General</c:formatCode>
                <c:ptCount val="3"/>
                <c:pt idx="0">
                  <c:v>0.90928863633829238</c:v>
                </c:pt>
                <c:pt idx="1">
                  <c:v>8.9289807892067544E-2</c:v>
                </c:pt>
                <c:pt idx="2">
                  <c:v>1.421555769640087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C$2:$C$4</c:f>
              <c:numCache>
                <c:formatCode>General</c:formatCode>
                <c:ptCount val="3"/>
                <c:pt idx="0">
                  <c:v>0.79924717691342539</c:v>
                </c:pt>
                <c:pt idx="1">
                  <c:v>0.12421580928481808</c:v>
                </c:pt>
                <c:pt idx="2">
                  <c:v>7.65370138017565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D$2:$D$4</c:f>
              <c:numCache>
                <c:formatCode>General</c:formatCode>
                <c:ptCount val="3"/>
                <c:pt idx="0">
                  <c:v>0.87898071632347219</c:v>
                </c:pt>
                <c:pt idx="1">
                  <c:v>1.3911532818501375</c:v>
                </c:pt>
                <c:pt idx="2">
                  <c:v>53.8403173736436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B$2:$B$3</c:f>
              <c:numCache>
                <c:formatCode>General</c:formatCode>
                <c:ptCount val="2"/>
                <c:pt idx="0">
                  <c:v>0.99999345956864738</c:v>
                </c:pt>
                <c:pt idx="1">
                  <c:v>6.375798069195818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D$2:$D$3</c:f>
              <c:numCache>
                <c:formatCode>General</c:formatCode>
                <c:ptCount val="2"/>
                <c:pt idx="0">
                  <c:v>1.0000065404741301</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Comfort 3</c:v>
                </c:pt>
                <c:pt idx="7">
                  <c:v>Van Der Hagen</c:v>
                </c:pt>
                <c:pt idx="8">
                  <c:v>Cremo</c:v>
                </c:pt>
                <c:pt idx="9">
                  <c:v>Others</c:v>
                </c:pt>
              </c:strCache>
            </c:strRef>
          </c:cat>
          <c:val>
            <c:numRef>
              <c:f>Sheet1!$B$2:$B$11</c:f>
              <c:numCache>
                <c:formatCode>General</c:formatCode>
                <c:ptCount val="10"/>
                <c:pt idx="0">
                  <c:v>0.60821345079648781</c:v>
                </c:pt>
                <c:pt idx="1">
                  <c:v>0.11716739610818547</c:v>
                </c:pt>
                <c:pt idx="2">
                  <c:v>9.8847156376664469E-2</c:v>
                </c:pt>
                <c:pt idx="3">
                  <c:v>6.9469275220367055E-2</c:v>
                </c:pt>
                <c:pt idx="4">
                  <c:v>6.4424733429131145E-2</c:v>
                </c:pt>
                <c:pt idx="5">
                  <c:v>2.0756485770872024E-2</c:v>
                </c:pt>
                <c:pt idx="6">
                  <c:v>1.0653408966937771E-2</c:v>
                </c:pt>
                <c:pt idx="7">
                  <c:v>1.0361762303401785E-2</c:v>
                </c:pt>
                <c:pt idx="8">
                  <c:v>1.0528371823807828E-4</c:v>
                </c:pt>
                <c:pt idx="9">
                  <c:v>1.0473097144434425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Comfort 3</c:v>
                </c:pt>
                <c:pt idx="7">
                  <c:v>Van Der Hagen</c:v>
                </c:pt>
                <c:pt idx="8">
                  <c:v>Cremo</c:v>
                </c:pt>
                <c:pt idx="9">
                  <c:v>Others</c:v>
                </c:pt>
              </c:strCache>
            </c:strRef>
          </c:cat>
          <c:val>
            <c:numRef>
              <c:f>Sheet1!$C$2:$C$11</c:f>
              <c:numCache>
                <c:formatCode>General</c:formatCode>
                <c:ptCount val="10"/>
                <c:pt idx="0">
                  <c:v>0.47198762935648869</c:v>
                </c:pt>
                <c:pt idx="1">
                  <c:v>8.5523968121803254E-2</c:v>
                </c:pt>
                <c:pt idx="2">
                  <c:v>0.17961222790531697</c:v>
                </c:pt>
                <c:pt idx="3">
                  <c:v>0.10074937552039966</c:v>
                </c:pt>
                <c:pt idx="4">
                  <c:v>9.4207208278815263E-2</c:v>
                </c:pt>
                <c:pt idx="5">
                  <c:v>3.3067681693826574E-2</c:v>
                </c:pt>
                <c:pt idx="6">
                  <c:v>1.7842274295230168E-2</c:v>
                </c:pt>
                <c:pt idx="7">
                  <c:v>1.5939098370405618E-2</c:v>
                </c:pt>
                <c:pt idx="8">
                  <c:v>1.07053645771381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Comfort 3</c:v>
                </c:pt>
                <c:pt idx="7">
                  <c:v>Van Der Hagen</c:v>
                </c:pt>
                <c:pt idx="8">
                  <c:v>Cremo</c:v>
                </c:pt>
                <c:pt idx="9">
                  <c:v>Others</c:v>
                </c:pt>
              </c:strCache>
            </c:strRef>
          </c:cat>
          <c:val>
            <c:numRef>
              <c:f>Sheet1!$D$2:$D$11</c:f>
              <c:numCache>
                <c:formatCode>General</c:formatCode>
                <c:ptCount val="10"/>
                <c:pt idx="0">
                  <c:v>0.77602300432257099</c:v>
                </c:pt>
                <c:pt idx="1">
                  <c:v>0.72992974976447766</c:v>
                </c:pt>
                <c:pt idx="2">
                  <c:v>1.8170702576500144</c:v>
                </c:pt>
                <c:pt idx="3">
                  <c:v>1.4502724434767369</c:v>
                </c:pt>
                <c:pt idx="4">
                  <c:v>1.4622832453384631</c:v>
                </c:pt>
                <c:pt idx="5">
                  <c:v>1.5931252553469859</c:v>
                </c:pt>
                <c:pt idx="6">
                  <c:v>1.674794833334815</c:v>
                </c:pt>
                <c:pt idx="7">
                  <c:v>1.5382613404645256</c:v>
                </c:pt>
                <c:pt idx="8">
                  <c:v>10.168110279815572</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Edgewell Personal Care</c:v>
                </c:pt>
                <c:pt idx="4">
                  <c:v>Unilever</c:v>
                </c:pt>
                <c:pt idx="5">
                  <c:v>Pbg</c:v>
                </c:pt>
                <c:pt idx="6">
                  <c:v>Universal Beauty Prods Inc</c:v>
                </c:pt>
              </c:strCache>
            </c:strRef>
          </c:cat>
          <c:val>
            <c:numRef>
              <c:f>Sheet1!$B$2:$B$8</c:f>
              <c:numCache>
                <c:formatCode>General</c:formatCode>
                <c:ptCount val="7"/>
                <c:pt idx="0">
                  <c:v>0.6182635657766159</c:v>
                </c:pt>
                <c:pt idx="1">
                  <c:v>0.18722367556157865</c:v>
                </c:pt>
                <c:pt idx="2">
                  <c:v>7.6076622349415271E-2</c:v>
                </c:pt>
                <c:pt idx="3">
                  <c:v>3.8778974255364349E-2</c:v>
                </c:pt>
                <c:pt idx="4">
                  <c:v>3.3453458305565988E-2</c:v>
                </c:pt>
                <c:pt idx="5">
                  <c:v>2.9502036126015829E-2</c:v>
                </c:pt>
                <c:pt idx="6">
                  <c:v>1.670016721594938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Edgewell Personal Care</c:v>
                </c:pt>
                <c:pt idx="4">
                  <c:v>Unilever</c:v>
                </c:pt>
                <c:pt idx="5">
                  <c:v>Pbg</c:v>
                </c:pt>
                <c:pt idx="6">
                  <c:v>Universal Beauty Prods Inc</c:v>
                </c:pt>
              </c:strCache>
            </c:strRef>
          </c:cat>
          <c:val>
            <c:numRef>
              <c:f>Sheet1!$C$2:$C$8</c:f>
              <c:numCache>
                <c:formatCode>General</c:formatCode>
                <c:ptCount val="7"/>
                <c:pt idx="0">
                  <c:v>0.505338904363974</c:v>
                </c:pt>
                <c:pt idx="1">
                  <c:v>0.14159702878365829</c:v>
                </c:pt>
                <c:pt idx="2">
                  <c:v>0.14345403899721446</c:v>
                </c:pt>
                <c:pt idx="3">
                  <c:v>5.0371402042711226E-2</c:v>
                </c:pt>
                <c:pt idx="4">
                  <c:v>6.4531104921077068E-2</c:v>
                </c:pt>
                <c:pt idx="5">
                  <c:v>6.3602599814298985E-2</c:v>
                </c:pt>
                <c:pt idx="6">
                  <c:v>3.110492107706592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Edgewell Personal Care</c:v>
                </c:pt>
                <c:pt idx="4">
                  <c:v>Unilever</c:v>
                </c:pt>
                <c:pt idx="5">
                  <c:v>Pbg</c:v>
                </c:pt>
                <c:pt idx="6">
                  <c:v>Universal Beauty Prods Inc</c:v>
                </c:pt>
              </c:strCache>
            </c:strRef>
          </c:cat>
          <c:val>
            <c:numRef>
              <c:f>Sheet1!$D$2:$D$8</c:f>
              <c:numCache>
                <c:formatCode>General</c:formatCode>
                <c:ptCount val="7"/>
                <c:pt idx="0">
                  <c:v>0.81735190675388658</c:v>
                </c:pt>
                <c:pt idx="1">
                  <c:v>0.75629873390177316</c:v>
                </c:pt>
                <c:pt idx="2">
                  <c:v>1.885652051406</c:v>
                </c:pt>
                <c:pt idx="3">
                  <c:v>1.2989359056020746</c:v>
                </c:pt>
                <c:pt idx="4">
                  <c:v>1.9289815818635523</c:v>
                </c:pt>
                <c:pt idx="5">
                  <c:v>2.1558715318029251</c:v>
                </c:pt>
                <c:pt idx="6">
                  <c:v>1.8625514747756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Unilever</c:v>
                </c:pt>
                <c:pt idx="4">
                  <c:v>Edgewell Personal Care</c:v>
                </c:pt>
                <c:pt idx="5">
                  <c:v>Pbg</c:v>
                </c:pt>
                <c:pt idx="6">
                  <c:v>Others</c:v>
                </c:pt>
              </c:strCache>
            </c:strRef>
          </c:cat>
          <c:val>
            <c:numRef>
              <c:f>Sheet1!$B$2:$B$8</c:f>
              <c:numCache>
                <c:formatCode>General</c:formatCode>
                <c:ptCount val="7"/>
                <c:pt idx="0">
                  <c:v>0.59012128868399372</c:v>
                </c:pt>
                <c:pt idx="1">
                  <c:v>0.20514442686203471</c:v>
                </c:pt>
                <c:pt idx="2">
                  <c:v>7.6486299352424139E-2</c:v>
                </c:pt>
                <c:pt idx="3">
                  <c:v>4.56218420807529E-2</c:v>
                </c:pt>
                <c:pt idx="4">
                  <c:v>4.1422314772833112E-2</c:v>
                </c:pt>
                <c:pt idx="5">
                  <c:v>4.0043314347797926E-2</c:v>
                </c:pt>
                <c:pt idx="6">
                  <c:v>1.159745621877539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Unilever</c:v>
                </c:pt>
                <c:pt idx="4">
                  <c:v>Edgewell Personal Care</c:v>
                </c:pt>
                <c:pt idx="5">
                  <c:v>Pbg</c:v>
                </c:pt>
                <c:pt idx="6">
                  <c:v>Others</c:v>
                </c:pt>
              </c:strCache>
            </c:strRef>
          </c:cat>
          <c:val>
            <c:numRef>
              <c:f>Sheet1!$C$2:$C$8</c:f>
              <c:numCache>
                <c:formatCode>General</c:formatCode>
                <c:ptCount val="7"/>
                <c:pt idx="0">
                  <c:v>0.47100840336134464</c:v>
                </c:pt>
                <c:pt idx="1">
                  <c:v>0.16218487394957984</c:v>
                </c:pt>
                <c:pt idx="2">
                  <c:v>0.14579831932773113</c:v>
                </c:pt>
                <c:pt idx="3">
                  <c:v>7.9831932773109252E-2</c:v>
                </c:pt>
                <c:pt idx="4">
                  <c:v>4.957983193277312E-2</c:v>
                </c:pt>
                <c:pt idx="5">
                  <c:v>8.3613445378151255E-2</c:v>
                </c:pt>
                <c:pt idx="6">
                  <c:v>7.983193277310925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Unilever</c:v>
                </c:pt>
                <c:pt idx="4">
                  <c:v>Edgewell Personal Care</c:v>
                </c:pt>
                <c:pt idx="5">
                  <c:v>Pbg</c:v>
                </c:pt>
                <c:pt idx="6">
                  <c:v>Others</c:v>
                </c:pt>
              </c:strCache>
            </c:strRef>
          </c:cat>
          <c:val>
            <c:numRef>
              <c:f>Sheet1!$D$2:$D$8</c:f>
              <c:numCache>
                <c:formatCode>General</c:formatCode>
                <c:ptCount val="7"/>
                <c:pt idx="0">
                  <c:v>0.79815524773173663</c:v>
                </c:pt>
                <c:pt idx="1">
                  <c:v>0.79058873999367107</c:v>
                </c:pt>
                <c:pt idx="2">
                  <c:v>1.9062017715870867</c:v>
                </c:pt>
                <c:pt idx="3">
                  <c:v>1.7498621084129573</c:v>
                </c:pt>
                <c:pt idx="4">
                  <c:v>1.1969353283291191</c:v>
                </c:pt>
                <c:pt idx="5">
                  <c:v>2.0880750442364255</c:v>
                </c:pt>
                <c:pt idx="6">
                  <c:v>6.883572678969673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B$2:$B$9</c:f>
              <c:numCache>
                <c:formatCode>General</c:formatCode>
                <c:ptCount val="8"/>
                <c:pt idx="0">
                  <c:v>0.5727952101920154</c:v>
                </c:pt>
                <c:pt idx="1">
                  <c:v>0.21145741906350762</c:v>
                </c:pt>
                <c:pt idx="2">
                  <c:v>8.3384172322738523E-2</c:v>
                </c:pt>
                <c:pt idx="3">
                  <c:v>4.5161741813225832E-2</c:v>
                </c:pt>
                <c:pt idx="4">
                  <c:v>3.8719642779360929E-2</c:v>
                </c:pt>
                <c:pt idx="5">
                  <c:v>2.9552320956033169E-2</c:v>
                </c:pt>
                <c:pt idx="6">
                  <c:v>1.8920839671646029E-2</c:v>
                </c:pt>
                <c:pt idx="7">
                  <c:v>3.4338101081377195E-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C$2:$C$9</c:f>
              <c:numCache>
                <c:formatCode>General</c:formatCode>
                <c:ptCount val="8"/>
                <c:pt idx="0">
                  <c:v>0.49403014288510477</c:v>
                </c:pt>
                <c:pt idx="1">
                  <c:v>0.13740458015267176</c:v>
                </c:pt>
                <c:pt idx="2">
                  <c:v>0.15443335290663535</c:v>
                </c:pt>
                <c:pt idx="3">
                  <c:v>6.6353493834409874E-2</c:v>
                </c:pt>
                <c:pt idx="4">
                  <c:v>5.9307105108631818E-2</c:v>
                </c:pt>
                <c:pt idx="5">
                  <c:v>5.7545507927187309E-2</c:v>
                </c:pt>
                <c:pt idx="6">
                  <c:v>3.092581718535917E-2</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D$2:$D$9</c:f>
              <c:numCache>
                <c:formatCode>General</c:formatCode>
                <c:ptCount val="8"/>
                <c:pt idx="0">
                  <c:v>0.86249000357299321</c:v>
                </c:pt>
                <c:pt idx="1">
                  <c:v>0.64979786834248954</c:v>
                </c:pt>
                <c:pt idx="2">
                  <c:v>1.8520703462630881</c:v>
                </c:pt>
                <c:pt idx="3">
                  <c:v>1.4692412464697704</c:v>
                </c:pt>
                <c:pt idx="4">
                  <c:v>1.5317058952890135</c:v>
                </c:pt>
                <c:pt idx="5">
                  <c:v>1.9472415724234096</c:v>
                </c:pt>
                <c:pt idx="6">
                  <c:v>1.6344843950928507</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4082386189050302</c:v>
                </c:pt>
                <c:pt idx="1">
                  <c:v>0.18453803758152043</c:v>
                </c:pt>
                <c:pt idx="2">
                  <c:v>0.15328225460688705</c:v>
                </c:pt>
                <c:pt idx="3">
                  <c:v>0.11808411865374223</c:v>
                </c:pt>
                <c:pt idx="4">
                  <c:v>3.271727267347310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4086964905514846</c:v>
                </c:pt>
                <c:pt idx="1">
                  <c:v>0.26535383725414563</c:v>
                </c:pt>
                <c:pt idx="2">
                  <c:v>0.13890763594292321</c:v>
                </c:pt>
                <c:pt idx="3">
                  <c:v>0.15860007713073657</c:v>
                </c:pt>
                <c:pt idx="4">
                  <c:v>2.844195912070959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0.75569241549891275</c:v>
                </c:pt>
                <c:pt idx="1">
                  <c:v>1.4379357271366044</c:v>
                </c:pt>
                <c:pt idx="2">
                  <c:v>0.90622124719636021</c:v>
                </c:pt>
                <c:pt idx="3">
                  <c:v>1.3431109868025453</c:v>
                </c:pt>
                <c:pt idx="4">
                  <c:v>8.6932549068401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cter &amp; Gamble</c:v>
                </c:pt>
                <c:pt idx="1">
                  <c:v>Edgewell Personal Care</c:v>
                </c:pt>
                <c:pt idx="2">
                  <c:v>Bic</c:v>
                </c:pt>
                <c:pt idx="3">
                  <c:v>Others</c:v>
                </c:pt>
              </c:strCache>
            </c:strRef>
          </c:cat>
          <c:val>
            <c:numRef>
              <c:f>Sheet1!$B$2:$B$5</c:f>
              <c:numCache>
                <c:formatCode>General</c:formatCode>
                <c:ptCount val="4"/>
                <c:pt idx="0">
                  <c:v>0.64685757162682911</c:v>
                </c:pt>
                <c:pt idx="1">
                  <c:v>0.30061391144213834</c:v>
                </c:pt>
                <c:pt idx="2">
                  <c:v>4.4594999991539257E-2</c:v>
                </c:pt>
                <c:pt idx="3">
                  <c:v>7.933516939493366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cter &amp; Gamble</c:v>
                </c:pt>
                <c:pt idx="1">
                  <c:v>Edgewell Personal Care</c:v>
                </c:pt>
                <c:pt idx="2">
                  <c:v>Bic</c:v>
                </c:pt>
                <c:pt idx="3">
                  <c:v>Others</c:v>
                </c:pt>
              </c:strCache>
            </c:strRef>
          </c:cat>
          <c:val>
            <c:numRef>
              <c:f>Sheet1!$C$2:$C$5</c:f>
              <c:numCache>
                <c:formatCode>General</c:formatCode>
                <c:ptCount val="4"/>
                <c:pt idx="0">
                  <c:v>0.36050724637681159</c:v>
                </c:pt>
                <c:pt idx="1">
                  <c:v>0.38949275362318836</c:v>
                </c:pt>
                <c:pt idx="2">
                  <c:v>0.14492753623188406</c:v>
                </c:pt>
                <c:pt idx="3">
                  <c:v>0.105072463768115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cter &amp; Gamble</c:v>
                </c:pt>
                <c:pt idx="1">
                  <c:v>Edgewell Personal Care</c:v>
                </c:pt>
                <c:pt idx="2">
                  <c:v>Bic</c:v>
                </c:pt>
                <c:pt idx="3">
                  <c:v>Others</c:v>
                </c:pt>
              </c:strCache>
            </c:strRef>
          </c:cat>
          <c:val>
            <c:numRef>
              <c:f>Sheet1!$D$2:$D$5</c:f>
              <c:numCache>
                <c:formatCode>General</c:formatCode>
                <c:ptCount val="4"/>
                <c:pt idx="0">
                  <c:v>0.55732090368849774</c:v>
                </c:pt>
                <c:pt idx="1">
                  <c:v>1.2956577816198545</c:v>
                </c:pt>
                <c:pt idx="2">
                  <c:v>3.2498606628406841</c:v>
                </c:pt>
                <c:pt idx="3">
                  <c:v>13.2441216889650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Bic</c:v>
                </c:pt>
              </c:strCache>
            </c:strRef>
          </c:cat>
          <c:val>
            <c:numRef>
              <c:f>Sheet1!$B$2:$B$4</c:f>
              <c:numCache>
                <c:formatCode>General</c:formatCode>
                <c:ptCount val="3"/>
                <c:pt idx="0">
                  <c:v>0.58060561431334312</c:v>
                </c:pt>
                <c:pt idx="1">
                  <c:v>0.40033726926049551</c:v>
                </c:pt>
                <c:pt idx="2">
                  <c:v>1.905711642616137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Bic</c:v>
                </c:pt>
              </c:strCache>
            </c:strRef>
          </c:cat>
          <c:val>
            <c:numRef>
              <c:f>Sheet1!$C$2:$C$4</c:f>
              <c:numCache>
                <c:formatCode>General</c:formatCode>
                <c:ptCount val="3"/>
                <c:pt idx="0">
                  <c:v>0.38194444444444448</c:v>
                </c:pt>
                <c:pt idx="1">
                  <c:v>0.58333333333333337</c:v>
                </c:pt>
                <c:pt idx="2">
                  <c:v>3.47222222222222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Bic</c:v>
                </c:pt>
              </c:strCache>
            </c:strRef>
          </c:cat>
          <c:val>
            <c:numRef>
              <c:f>Sheet1!$D$2:$D$4</c:f>
              <c:numCache>
                <c:formatCode>General</c:formatCode>
                <c:ptCount val="3"/>
                <c:pt idx="0">
                  <c:v>0.65783801435704936</c:v>
                </c:pt>
                <c:pt idx="1">
                  <c:v>1.4571047417365584</c:v>
                </c:pt>
                <c:pt idx="2">
                  <c:v>1.82200819083814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9178393832722365</c:v>
                </c:pt>
                <c:pt idx="1">
                  <c:v>0.16414064550992524</c:v>
                </c:pt>
                <c:pt idx="2">
                  <c:v>0.13480606533282488</c:v>
                </c:pt>
                <c:pt idx="3">
                  <c:v>0.10662706404701726</c:v>
                </c:pt>
                <c:pt idx="4">
                  <c:v>2.64228678300894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43693583800927044</c:v>
                </c:pt>
                <c:pt idx="1">
                  <c:v>0.25420834349841415</c:v>
                </c:pt>
                <c:pt idx="2">
                  <c:v>0.13979019272993412</c:v>
                </c:pt>
                <c:pt idx="3">
                  <c:v>0.14247377409124173</c:v>
                </c:pt>
                <c:pt idx="4">
                  <c:v>2.65918516711392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0.73833676399589809</c:v>
                </c:pt>
                <c:pt idx="1">
                  <c:v>1.5487226988091911</c:v>
                </c:pt>
                <c:pt idx="2">
                  <c:v>1.0369725752680627</c:v>
                </c:pt>
                <c:pt idx="3">
                  <c:v>1.3361877246138734</c:v>
                </c:pt>
                <c:pt idx="4">
                  <c:v>10.06395363369960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4232810204621629</c:v>
                </c:pt>
                <c:pt idx="1">
                  <c:v>0.17466163350264091</c:v>
                </c:pt>
                <c:pt idx="2">
                  <c:v>0.16328107149783413</c:v>
                </c:pt>
                <c:pt idx="3">
                  <c:v>0.11709290612027616</c:v>
                </c:pt>
                <c:pt idx="4">
                  <c:v>2.636286833032484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40346255175009416</c:v>
                </c:pt>
                <c:pt idx="1">
                  <c:v>0.23033496424538957</c:v>
                </c:pt>
                <c:pt idx="2">
                  <c:v>0.19119307489649984</c:v>
                </c:pt>
                <c:pt idx="3">
                  <c:v>0.15393300715092212</c:v>
                </c:pt>
                <c:pt idx="4">
                  <c:v>2.107640195709447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0.74394550130782588</c:v>
                </c:pt>
                <c:pt idx="1">
                  <c:v>1.3187496282170457</c:v>
                </c:pt>
                <c:pt idx="2">
                  <c:v>1.1709445139146821</c:v>
                </c:pt>
                <c:pt idx="3">
                  <c:v>1.3146228260216237</c:v>
                </c:pt>
                <c:pt idx="4">
                  <c:v>7.99473019893308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3591446079632776</c:v>
                </c:pt>
                <c:pt idx="1">
                  <c:v>0.18718514906711023</c:v>
                </c:pt>
                <c:pt idx="2">
                  <c:v>0.15428676179551037</c:v>
                </c:pt>
                <c:pt idx="3">
                  <c:v>0.11923589594459544</c:v>
                </c:pt>
                <c:pt idx="4">
                  <c:v>3.377732396456250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40667606958157032</c:v>
                </c:pt>
                <c:pt idx="1">
                  <c:v>0.26774800188058301</c:v>
                </c:pt>
                <c:pt idx="2">
                  <c:v>0.13657733897508231</c:v>
                </c:pt>
                <c:pt idx="3">
                  <c:v>0.16008462623413261</c:v>
                </c:pt>
                <c:pt idx="4">
                  <c:v>2.89139633286318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0.75884511303778013</c:v>
                </c:pt>
                <c:pt idx="1">
                  <c:v>1.430391263489547</c:v>
                </c:pt>
                <c:pt idx="2">
                  <c:v>0.88521748324785055</c:v>
                </c:pt>
                <c:pt idx="3">
                  <c:v>1.3425875233790174</c:v>
                </c:pt>
                <c:pt idx="4">
                  <c:v>8.56016994092456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B$2:$B$7</c:f>
              <c:numCache>
                <c:formatCode>General</c:formatCode>
                <c:ptCount val="6"/>
                <c:pt idx="0">
                  <c:v>0.64845903530310278</c:v>
                </c:pt>
                <c:pt idx="1">
                  <c:v>0.20224109939179227</c:v>
                </c:pt>
                <c:pt idx="2">
                  <c:v>5.2245126318850414E-2</c:v>
                </c:pt>
                <c:pt idx="3">
                  <c:v>4.5585059620872087E-2</c:v>
                </c:pt>
                <c:pt idx="4">
                  <c:v>2.9879671567027418E-2</c:v>
                </c:pt>
                <c:pt idx="5">
                  <c:v>2.157417993974655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C$2:$C$7</c:f>
              <c:numCache>
                <c:formatCode>General</c:formatCode>
                <c:ptCount val="6"/>
                <c:pt idx="0">
                  <c:v>0.60724196580431455</c:v>
                </c:pt>
                <c:pt idx="1">
                  <c:v>0.18248142511861065</c:v>
                </c:pt>
                <c:pt idx="2">
                  <c:v>8.1416166860621239E-2</c:v>
                </c:pt>
                <c:pt idx="3">
                  <c:v>6.8078059260585425E-2</c:v>
                </c:pt>
                <c:pt idx="4">
                  <c:v>2.7168561453764204E-2</c:v>
                </c:pt>
                <c:pt idx="5">
                  <c:v>3.361382150210365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D$2:$D$7</c:f>
              <c:numCache>
                <c:formatCode>General</c:formatCode>
                <c:ptCount val="6"/>
                <c:pt idx="0">
                  <c:v>0.93643843750357714</c:v>
                </c:pt>
                <c:pt idx="1">
                  <c:v>0.90229644551673382</c:v>
                </c:pt>
                <c:pt idx="2">
                  <c:v>1.5583495073538698</c:v>
                </c:pt>
                <c:pt idx="3">
                  <c:v>1.4934292030499932</c:v>
                </c:pt>
                <c:pt idx="4">
                  <c:v>0.90926573248365428</c:v>
                </c:pt>
                <c:pt idx="5">
                  <c:v>1.558057900508014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Cremo</c:v>
                </c:pt>
                <c:pt idx="7">
                  <c:v>Others</c:v>
                </c:pt>
              </c:strCache>
            </c:strRef>
          </c:cat>
          <c:val>
            <c:numRef>
              <c:f>Sheet1!$B$2:$B$9</c:f>
              <c:numCache>
                <c:formatCode>General</c:formatCode>
                <c:ptCount val="8"/>
                <c:pt idx="0">
                  <c:v>0.57215875792109039</c:v>
                </c:pt>
                <c:pt idx="1">
                  <c:v>0.12903402387555485</c:v>
                </c:pt>
                <c:pt idx="2">
                  <c:v>0.1047374789670963</c:v>
                </c:pt>
                <c:pt idx="3">
                  <c:v>8.6360836984151618E-2</c:v>
                </c:pt>
                <c:pt idx="4">
                  <c:v>6.9859745722448893E-2</c:v>
                </c:pt>
                <c:pt idx="5">
                  <c:v>2.8475386707381922E-2</c:v>
                </c:pt>
                <c:pt idx="6">
                  <c:v>2.5083084027151109E-6</c:v>
                </c:pt>
                <c:pt idx="7">
                  <c:v>9.3712615138733055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Cremo</c:v>
                </c:pt>
                <c:pt idx="7">
                  <c:v>Others</c:v>
                </c:pt>
              </c:strCache>
            </c:strRef>
          </c:cat>
          <c:val>
            <c:numRef>
              <c:f>Sheet1!$C$2:$C$9</c:f>
              <c:numCache>
                <c:formatCode>General</c:formatCode>
                <c:ptCount val="8"/>
                <c:pt idx="0">
                  <c:v>0.43537820131030386</c:v>
                </c:pt>
                <c:pt idx="1">
                  <c:v>8.7750645225332546E-2</c:v>
                </c:pt>
                <c:pt idx="2">
                  <c:v>0.17669247567996821</c:v>
                </c:pt>
                <c:pt idx="3">
                  <c:v>0.14036132618622196</c:v>
                </c:pt>
                <c:pt idx="4">
                  <c:v>0.10462576930712728</c:v>
                </c:pt>
                <c:pt idx="5">
                  <c:v>3.7720865594599959E-2</c:v>
                </c:pt>
                <c:pt idx="6">
                  <c:v>0</c:v>
                </c:pt>
                <c:pt idx="7">
                  <c:v>1.747071669644629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Cremo</c:v>
                </c:pt>
                <c:pt idx="7">
                  <c:v>Others</c:v>
                </c:pt>
              </c:strCache>
            </c:strRef>
          </c:cat>
          <c:val>
            <c:numRef>
              <c:f>Sheet1!$D$2:$D$9</c:f>
              <c:numCache>
                <c:formatCode>General</c:formatCode>
                <c:ptCount val="8"/>
                <c:pt idx="0">
                  <c:v>0.76093950373534136</c:v>
                </c:pt>
                <c:pt idx="1">
                  <c:v>0.68005819387576794</c:v>
                </c:pt>
                <c:pt idx="2">
                  <c:v>1.6870033289179784</c:v>
                </c:pt>
                <c:pt idx="3">
                  <c:v>1.6252890903776229</c:v>
                </c:pt>
                <c:pt idx="4">
                  <c:v>1.497654596723025</c:v>
                </c:pt>
                <c:pt idx="5">
                  <c:v>1.3246831722506951</c:v>
                </c:pt>
                <c:pt idx="6">
                  <c:v>0</c:v>
                </c:pt>
                <c:pt idx="7">
                  <c:v>1.864286539286357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B$2:$B$4</c:f>
              <c:numCache>
                <c:formatCode>General</c:formatCode>
                <c:ptCount val="3"/>
                <c:pt idx="0">
                  <c:v>0.68107556181751516</c:v>
                </c:pt>
                <c:pt idx="1">
                  <c:v>0.313926510063266</c:v>
                </c:pt>
                <c:pt idx="2">
                  <c:v>4.997928119218840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C$2:$C$4</c:f>
              <c:numCache>
                <c:formatCode>General</c:formatCode>
                <c:ptCount val="3"/>
                <c:pt idx="0">
                  <c:v>0.63882618510158018</c:v>
                </c:pt>
                <c:pt idx="1">
                  <c:v>0.2234762979683973</c:v>
                </c:pt>
                <c:pt idx="2">
                  <c:v>0.137697516930022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D$2:$D$4</c:f>
              <c:numCache>
                <c:formatCode>General</c:formatCode>
                <c:ptCount val="3"/>
                <c:pt idx="0">
                  <c:v>0.93796668228237634</c:v>
                </c:pt>
                <c:pt idx="1">
                  <c:v>0.71187456555790662</c:v>
                </c:pt>
                <c:pt idx="2">
                  <c:v>27.5509198302644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B$2:$B$3</c:f>
              <c:numCache>
                <c:formatCode>General</c:formatCode>
                <c:ptCount val="2"/>
                <c:pt idx="0">
                  <c:v>0.9999743809551962</c:v>
                </c:pt>
                <c:pt idx="1">
                  <c:v>2.561904480376797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D$2:$D$3</c:f>
              <c:numCache>
                <c:formatCode>General</c:formatCode>
                <c:ptCount val="2"/>
                <c:pt idx="0">
                  <c:v>1.0000256197011561</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Universal Beauty Prods Inc</c:v>
                </c:pt>
                <c:pt idx="5">
                  <c:v>Pbg</c:v>
                </c:pt>
              </c:strCache>
            </c:strRef>
          </c:cat>
          <c:val>
            <c:numRef>
              <c:f>Sheet1!$B$2:$B$7</c:f>
              <c:numCache>
                <c:formatCode>General</c:formatCode>
                <c:ptCount val="6"/>
                <c:pt idx="0">
                  <c:v>0.68783737576687554</c:v>
                </c:pt>
                <c:pt idx="1">
                  <c:v>0.18097371641078247</c:v>
                </c:pt>
                <c:pt idx="2">
                  <c:v>4.2128204910829088E-2</c:v>
                </c:pt>
                <c:pt idx="3">
                  <c:v>4.2010930536834044E-2</c:v>
                </c:pt>
                <c:pt idx="4">
                  <c:v>2.5361219201347384E-2</c:v>
                </c:pt>
                <c:pt idx="5">
                  <c:v>2.168586857922802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Universal Beauty Prods Inc</c:v>
                </c:pt>
                <c:pt idx="5">
                  <c:v>Pbg</c:v>
                </c:pt>
              </c:strCache>
            </c:strRef>
          </c:cat>
          <c:val>
            <c:numRef>
              <c:f>Sheet1!$C$2:$C$7</c:f>
              <c:numCache>
                <c:formatCode>General</c:formatCode>
                <c:ptCount val="6"/>
                <c:pt idx="0">
                  <c:v>0.61141304347826086</c:v>
                </c:pt>
                <c:pt idx="1">
                  <c:v>0.18858695652173912</c:v>
                </c:pt>
                <c:pt idx="2">
                  <c:v>7.9347826086956522E-2</c:v>
                </c:pt>
                <c:pt idx="3">
                  <c:v>5.3260869565217403E-2</c:v>
                </c:pt>
                <c:pt idx="4">
                  <c:v>2.9347826086956526E-2</c:v>
                </c:pt>
                <c:pt idx="5">
                  <c:v>3.804347826086956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Universal Beauty Prods Inc</c:v>
                </c:pt>
                <c:pt idx="5">
                  <c:v>Pbg</c:v>
                </c:pt>
              </c:strCache>
            </c:strRef>
          </c:cat>
          <c:val>
            <c:numRef>
              <c:f>Sheet1!$D$2:$D$7</c:f>
              <c:numCache>
                <c:formatCode>General</c:formatCode>
                <c:ptCount val="6"/>
                <c:pt idx="0">
                  <c:v>0.88889185877198296</c:v>
                </c:pt>
                <c:pt idx="1">
                  <c:v>1.0420682089197735</c:v>
                </c:pt>
                <c:pt idx="2">
                  <c:v>1.8834846216426397</c:v>
                </c:pt>
                <c:pt idx="3">
                  <c:v>1.2677859996107375</c:v>
                </c:pt>
                <c:pt idx="4">
                  <c:v>1.1571930297971378</c:v>
                </c:pt>
                <c:pt idx="5">
                  <c:v>1.754298109936431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Pbg</c:v>
                </c:pt>
                <c:pt idx="5">
                  <c:v>Others</c:v>
                </c:pt>
              </c:strCache>
            </c:strRef>
          </c:cat>
          <c:val>
            <c:numRef>
              <c:f>Sheet1!$B$2:$B$7</c:f>
              <c:numCache>
                <c:formatCode>General</c:formatCode>
                <c:ptCount val="6"/>
                <c:pt idx="0">
                  <c:v>0.66462879645305817</c:v>
                </c:pt>
                <c:pt idx="1">
                  <c:v>0.18553105912505027</c:v>
                </c:pt>
                <c:pt idx="2">
                  <c:v>6.0854558549794685E-2</c:v>
                </c:pt>
                <c:pt idx="3">
                  <c:v>5.4170930417457838E-2</c:v>
                </c:pt>
                <c:pt idx="4">
                  <c:v>3.2748599276019794E-2</c:v>
                </c:pt>
                <c:pt idx="5">
                  <c:v>2.066056178619199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Pbg</c:v>
                </c:pt>
                <c:pt idx="5">
                  <c:v>Others</c:v>
                </c:pt>
              </c:strCache>
            </c:strRef>
          </c:cat>
          <c:val>
            <c:numRef>
              <c:f>Sheet1!$C$2:$C$7</c:f>
              <c:numCache>
                <c:formatCode>General</c:formatCode>
                <c:ptCount val="6"/>
                <c:pt idx="0">
                  <c:v>0.56776947705442915</c:v>
                </c:pt>
                <c:pt idx="1">
                  <c:v>0.19530416221985061</c:v>
                </c:pt>
                <c:pt idx="2">
                  <c:v>0.1088580576307364</c:v>
                </c:pt>
                <c:pt idx="3">
                  <c:v>6.5101387406616862E-2</c:v>
                </c:pt>
                <c:pt idx="4">
                  <c:v>5.6563500533617937E-2</c:v>
                </c:pt>
                <c:pt idx="5">
                  <c:v>6.403415154749199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Pbg</c:v>
                </c:pt>
                <c:pt idx="5">
                  <c:v>Others</c:v>
                </c:pt>
              </c:strCache>
            </c:strRef>
          </c:cat>
          <c:val>
            <c:numRef>
              <c:f>Sheet1!$D$2:$D$7</c:f>
              <c:numCache>
                <c:formatCode>General</c:formatCode>
                <c:ptCount val="6"/>
                <c:pt idx="0">
                  <c:v>0.8542655390263848</c:v>
                </c:pt>
                <c:pt idx="1">
                  <c:v>1.0526763720365178</c:v>
                </c:pt>
                <c:pt idx="2">
                  <c:v>1.7888233885003455</c:v>
                </c:pt>
                <c:pt idx="3">
                  <c:v>1.2017771691371288</c:v>
                </c:pt>
                <c:pt idx="4">
                  <c:v>1.7272036601283474</c:v>
                </c:pt>
                <c:pt idx="5">
                  <c:v>3.09934222554818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B$2:$B$7</c:f>
              <c:numCache>
                <c:formatCode>General</c:formatCode>
                <c:ptCount val="6"/>
                <c:pt idx="0">
                  <c:v>0.64471932029990753</c:v>
                </c:pt>
                <c:pt idx="1">
                  <c:v>0.20469757345628167</c:v>
                </c:pt>
                <c:pt idx="2">
                  <c:v>5.2881543838262185E-2</c:v>
                </c:pt>
                <c:pt idx="3">
                  <c:v>4.4999654738848094E-2</c:v>
                </c:pt>
                <c:pt idx="4">
                  <c:v>3.1729960754940188E-2</c:v>
                </c:pt>
                <c:pt idx="5">
                  <c:v>2.09542997754583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C$2:$C$7</c:f>
              <c:numCache>
                <c:formatCode>General</c:formatCode>
                <c:ptCount val="6"/>
                <c:pt idx="0">
                  <c:v>0.60806794055201707</c:v>
                </c:pt>
                <c:pt idx="1">
                  <c:v>0.18174097664543523</c:v>
                </c:pt>
                <c:pt idx="2">
                  <c:v>8.3651804670912974E-2</c:v>
                </c:pt>
                <c:pt idx="3">
                  <c:v>6.6242038216560523E-2</c:v>
                </c:pt>
                <c:pt idx="4">
                  <c:v>2.7600849256900217E-2</c:v>
                </c:pt>
                <c:pt idx="5">
                  <c:v>3.269639065817410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D$2:$D$7</c:f>
              <c:numCache>
                <c:formatCode>General</c:formatCode>
                <c:ptCount val="6"/>
                <c:pt idx="0">
                  <c:v>0.94315141706806438</c:v>
                </c:pt>
                <c:pt idx="1">
                  <c:v>0.88785115317573904</c:v>
                </c:pt>
                <c:pt idx="2">
                  <c:v>1.5818714545619432</c:v>
                </c:pt>
                <c:pt idx="3">
                  <c:v>1.4720565880114171</c:v>
                </c:pt>
                <c:pt idx="4">
                  <c:v>0.86986710982940341</c:v>
                </c:pt>
                <c:pt idx="5">
                  <c:v>1.560366655461713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B$2:$B$7</c:f>
              <c:numCache>
                <c:formatCode>General</c:formatCode>
                <c:ptCount val="6"/>
                <c:pt idx="0">
                  <c:v>0.61709940359128201</c:v>
                </c:pt>
                <c:pt idx="1">
                  <c:v>0.24341488493153948</c:v>
                </c:pt>
                <c:pt idx="2">
                  <c:v>4.6455889563729022E-2</c:v>
                </c:pt>
                <c:pt idx="3">
                  <c:v>4.0291318503790183E-2</c:v>
                </c:pt>
                <c:pt idx="4">
                  <c:v>3.922074446846973E-2</c:v>
                </c:pt>
                <c:pt idx="5">
                  <c:v>1.351348236795649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C$2:$C$7</c:f>
              <c:numCache>
                <c:formatCode>General</c:formatCode>
                <c:ptCount val="6"/>
                <c:pt idx="0">
                  <c:v>0.55600461893764441</c:v>
                </c:pt>
                <c:pt idx="1">
                  <c:v>0.14124501364686123</c:v>
                </c:pt>
                <c:pt idx="2">
                  <c:v>7.1016166281755208E-2</c:v>
                </c:pt>
                <c:pt idx="3">
                  <c:v>7.4742809153894613E-2</c:v>
                </c:pt>
                <c:pt idx="4">
                  <c:v>0.11116943103086292</c:v>
                </c:pt>
                <c:pt idx="5">
                  <c:v>4.582196094898174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D$2:$D$7</c:f>
              <c:numCache>
                <c:formatCode>General</c:formatCode>
                <c:ptCount val="6"/>
                <c:pt idx="0">
                  <c:v>0.90099685026741339</c:v>
                </c:pt>
                <c:pt idx="1">
                  <c:v>0.58026448828955735</c:v>
                </c:pt>
                <c:pt idx="2">
                  <c:v>1.5286795054119877</c:v>
                </c:pt>
                <c:pt idx="3">
                  <c:v>1.8550598970064383</c:v>
                </c:pt>
                <c:pt idx="4">
                  <c:v>2.834454892110323</c:v>
                </c:pt>
                <c:pt idx="5">
                  <c:v>3.390832925318784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D$2:$D$2</c:f>
              <c:numCache>
                <c:formatCode>General</c:formatCode>
                <c:ptCount val="1"/>
                <c:pt idx="0">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B$2:$B$2</c:f>
              <c:numCache>
                <c:formatCode>General</c:formatCode>
                <c:ptCount val="1"/>
                <c:pt idx="0">
                  <c:v>0.9999998005223883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D$2:$D$2</c:f>
              <c:numCache>
                <c:formatCode>General</c:formatCode>
                <c:ptCount val="1"/>
                <c:pt idx="0">
                  <c:v>1.00000019947765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Pbg</c:v>
                </c:pt>
                <c:pt idx="4">
                  <c:v>Unilever</c:v>
                </c:pt>
                <c:pt idx="5">
                  <c:v>Universal Beauty Prods Inc</c:v>
                </c:pt>
              </c:strCache>
            </c:strRef>
          </c:cat>
          <c:val>
            <c:numRef>
              <c:f>Sheet1!$B$2:$B$7</c:f>
              <c:numCache>
                <c:formatCode>General</c:formatCode>
                <c:ptCount val="6"/>
                <c:pt idx="0">
                  <c:v>0.65871033624482334</c:v>
                </c:pt>
                <c:pt idx="1">
                  <c:v>0.21478330524000885</c:v>
                </c:pt>
                <c:pt idx="2">
                  <c:v>4.1950084557145072E-2</c:v>
                </c:pt>
                <c:pt idx="3">
                  <c:v>3.7673563884695019E-2</c:v>
                </c:pt>
                <c:pt idx="4">
                  <c:v>3.2889977513461635E-2</c:v>
                </c:pt>
                <c:pt idx="5">
                  <c:v>1.399170306524105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Pbg</c:v>
                </c:pt>
                <c:pt idx="4">
                  <c:v>Unilever</c:v>
                </c:pt>
                <c:pt idx="5">
                  <c:v>Universal Beauty Prods Inc</c:v>
                </c:pt>
              </c:strCache>
            </c:strRef>
          </c:cat>
          <c:val>
            <c:numRef>
              <c:f>Sheet1!$C$2:$C$7</c:f>
              <c:numCache>
                <c:formatCode>General</c:formatCode>
                <c:ptCount val="6"/>
                <c:pt idx="0">
                  <c:v>0.56864864864864884</c:v>
                </c:pt>
                <c:pt idx="1">
                  <c:v>0.14216216216216215</c:v>
                </c:pt>
                <c:pt idx="2">
                  <c:v>6.4324324324324333E-2</c:v>
                </c:pt>
                <c:pt idx="3">
                  <c:v>0.11027027027027027</c:v>
                </c:pt>
                <c:pt idx="4">
                  <c:v>7.1351351351351344E-2</c:v>
                </c:pt>
                <c:pt idx="5">
                  <c:v>4.324324324324324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Pbg</c:v>
                </c:pt>
                <c:pt idx="4">
                  <c:v>Unilever</c:v>
                </c:pt>
                <c:pt idx="5">
                  <c:v>Universal Beauty Prods Inc</c:v>
                </c:pt>
              </c:strCache>
            </c:strRef>
          </c:cat>
          <c:val>
            <c:numRef>
              <c:f>Sheet1!$D$2:$D$7</c:f>
              <c:numCache>
                <c:formatCode>General</c:formatCode>
                <c:ptCount val="6"/>
                <c:pt idx="0">
                  <c:v>0.86327573344362818</c:v>
                </c:pt>
                <c:pt idx="1">
                  <c:v>0.66188646274580576</c:v>
                </c:pt>
                <c:pt idx="2">
                  <c:v>1.5333538657520633</c:v>
                </c:pt>
                <c:pt idx="3">
                  <c:v>2.9269933316573709</c:v>
                </c:pt>
                <c:pt idx="4">
                  <c:v>2.1693949569332402</c:v>
                </c:pt>
                <c:pt idx="5">
                  <c:v>3.09063471698955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Pbg</c:v>
                </c:pt>
                <c:pt idx="3">
                  <c:v>Unilever</c:v>
                </c:pt>
                <c:pt idx="4">
                  <c:v>Edgewell Personal Care</c:v>
                </c:pt>
                <c:pt idx="5">
                  <c:v>Others</c:v>
                </c:pt>
              </c:strCache>
            </c:strRef>
          </c:cat>
          <c:val>
            <c:numRef>
              <c:f>Sheet1!$B$2:$B$7</c:f>
              <c:numCache>
                <c:formatCode>General</c:formatCode>
                <c:ptCount val="6"/>
                <c:pt idx="0">
                  <c:v>0.62568502670852777</c:v>
                </c:pt>
                <c:pt idx="1">
                  <c:v>0.24117258792104182</c:v>
                </c:pt>
                <c:pt idx="2">
                  <c:v>4.8878093988261435E-2</c:v>
                </c:pt>
                <c:pt idx="3">
                  <c:v>4.3446221986879467E-2</c:v>
                </c:pt>
                <c:pt idx="4">
                  <c:v>3.9982254620325328E-2</c:v>
                </c:pt>
                <c:pt idx="5">
                  <c:v>8.345503048053951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Pbg</c:v>
                </c:pt>
                <c:pt idx="3">
                  <c:v>Unilever</c:v>
                </c:pt>
                <c:pt idx="4">
                  <c:v>Edgewell Personal Care</c:v>
                </c:pt>
                <c:pt idx="5">
                  <c:v>Others</c:v>
                </c:pt>
              </c:strCache>
            </c:strRef>
          </c:cat>
          <c:val>
            <c:numRef>
              <c:f>Sheet1!$C$2:$C$7</c:f>
              <c:numCache>
                <c:formatCode>General</c:formatCode>
                <c:ptCount val="6"/>
                <c:pt idx="0">
                  <c:v>0.53740875912408748</c:v>
                </c:pt>
                <c:pt idx="1">
                  <c:v>0.18521897810218974</c:v>
                </c:pt>
                <c:pt idx="2">
                  <c:v>0.13321167883211676</c:v>
                </c:pt>
                <c:pt idx="3">
                  <c:v>8.0291970802919707E-2</c:v>
                </c:pt>
                <c:pt idx="4">
                  <c:v>5.2007299270072992E-2</c:v>
                </c:pt>
                <c:pt idx="5">
                  <c:v>1.186131386861313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Pbg</c:v>
                </c:pt>
                <c:pt idx="3">
                  <c:v>Unilever</c:v>
                </c:pt>
                <c:pt idx="4">
                  <c:v>Edgewell Personal Care</c:v>
                </c:pt>
                <c:pt idx="5">
                  <c:v>Others</c:v>
                </c:pt>
              </c:strCache>
            </c:strRef>
          </c:cat>
          <c:val>
            <c:numRef>
              <c:f>Sheet1!$D$2:$D$7</c:f>
              <c:numCache>
                <c:formatCode>General</c:formatCode>
                <c:ptCount val="6"/>
                <c:pt idx="0">
                  <c:v>0.85891260967387129</c:v>
                </c:pt>
                <c:pt idx="1">
                  <c:v>0.76799349253916493</c:v>
                </c:pt>
                <c:pt idx="2">
                  <c:v>2.7253861180452104</c:v>
                </c:pt>
                <c:pt idx="3">
                  <c:v>1.8480771660000141</c:v>
                </c:pt>
                <c:pt idx="4">
                  <c:v>1.3007595435509689</c:v>
                </c:pt>
                <c:pt idx="5">
                  <c:v>14.21282072550320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B$2:$B$11</c:f>
              <c:numCache>
                <c:formatCode>General</c:formatCode>
                <c:ptCount val="10"/>
                <c:pt idx="0">
                  <c:v>0.56090594801346816</c:v>
                </c:pt>
                <c:pt idx="1">
                  <c:v>0.14437866093188914</c:v>
                </c:pt>
                <c:pt idx="2">
                  <c:v>0.10612175297548615</c:v>
                </c:pt>
                <c:pt idx="3">
                  <c:v>6.9762969705455508E-2</c:v>
                </c:pt>
                <c:pt idx="4">
                  <c:v>6.8740181063599012E-2</c:v>
                </c:pt>
                <c:pt idx="5">
                  <c:v>2.6237294475988257E-2</c:v>
                </c:pt>
                <c:pt idx="6">
                  <c:v>1.2821323280886886E-2</c:v>
                </c:pt>
                <c:pt idx="7">
                  <c:v>1.0724769328363122E-2</c:v>
                </c:pt>
                <c:pt idx="8">
                  <c:v>3.0064786487591966E-4</c:v>
                </c:pt>
                <c:pt idx="9">
                  <c:v>6.452359987778816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C$2:$C$11</c:f>
              <c:numCache>
                <c:formatCode>General</c:formatCode>
                <c:ptCount val="10"/>
                <c:pt idx="0">
                  <c:v>0.4543415571932074</c:v>
                </c:pt>
                <c:pt idx="1">
                  <c:v>8.8112784363985897E-2</c:v>
                </c:pt>
                <c:pt idx="2">
                  <c:v>0.18914877710135639</c:v>
                </c:pt>
                <c:pt idx="3">
                  <c:v>9.3452953113318374E-2</c:v>
                </c:pt>
                <c:pt idx="4">
                  <c:v>0.10680337498664956</c:v>
                </c:pt>
                <c:pt idx="5">
                  <c:v>3.2361422620954816E-2</c:v>
                </c:pt>
                <c:pt idx="6">
                  <c:v>1.6874933247890633E-2</c:v>
                </c:pt>
                <c:pt idx="7">
                  <c:v>1.6768129872903981E-2</c:v>
                </c:pt>
                <c:pt idx="8">
                  <c:v>2.1360674997329913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D$2:$D$11</c:f>
              <c:numCache>
                <c:formatCode>General</c:formatCode>
                <c:ptCount val="10"/>
                <c:pt idx="0">
                  <c:v>0.81001379786098826</c:v>
                </c:pt>
                <c:pt idx="1">
                  <c:v>0.6102895247487663</c:v>
                </c:pt>
                <c:pt idx="2">
                  <c:v>1.7823751662399439</c:v>
                </c:pt>
                <c:pt idx="3">
                  <c:v>1.3395781961101105</c:v>
                </c:pt>
                <c:pt idx="4">
                  <c:v>1.5537255406388026</c:v>
                </c:pt>
                <c:pt idx="5">
                  <c:v>1.233413096406385</c:v>
                </c:pt>
                <c:pt idx="6">
                  <c:v>1.3161615909838713</c:v>
                </c:pt>
                <c:pt idx="7">
                  <c:v>1.5634956202329093</c:v>
                </c:pt>
                <c:pt idx="8">
                  <c:v>7.1048816548707823</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B$2:$B$7</c:f>
              <c:numCache>
                <c:formatCode>General</c:formatCode>
                <c:ptCount val="6"/>
                <c:pt idx="0">
                  <c:v>0.6134744311013659</c:v>
                </c:pt>
                <c:pt idx="1">
                  <c:v>0.24568657206703032</c:v>
                </c:pt>
                <c:pt idx="2">
                  <c:v>4.718507805126225E-2</c:v>
                </c:pt>
                <c:pt idx="3">
                  <c:v>4.0651772182946647E-2</c:v>
                </c:pt>
                <c:pt idx="4">
                  <c:v>3.874969133455497E-2</c:v>
                </c:pt>
                <c:pt idx="5">
                  <c:v>1.424775358950609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C$2:$C$7</c:f>
              <c:numCache>
                <c:formatCode>General</c:formatCode>
                <c:ptCount val="6"/>
                <c:pt idx="0">
                  <c:v>0.55572519083969474</c:v>
                </c:pt>
                <c:pt idx="1">
                  <c:v>0.13944020356234099</c:v>
                </c:pt>
                <c:pt idx="2">
                  <c:v>7.2264631043257005E-2</c:v>
                </c:pt>
                <c:pt idx="3">
                  <c:v>7.4809160305343514E-2</c:v>
                </c:pt>
                <c:pt idx="4">
                  <c:v>0.11043256997455471</c:v>
                </c:pt>
                <c:pt idx="5">
                  <c:v>4.732824427480916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D$2:$D$7</c:f>
              <c:numCache>
                <c:formatCode>General</c:formatCode>
                <c:ptCount val="6"/>
                <c:pt idx="0">
                  <c:v>0.90586528576587222</c:v>
                </c:pt>
                <c:pt idx="1">
                  <c:v>0.56755321379264356</c:v>
                </c:pt>
                <c:pt idx="2">
                  <c:v>1.5315144962724896</c:v>
                </c:pt>
                <c:pt idx="3">
                  <c:v>1.840243519241354</c:v>
                </c:pt>
                <c:pt idx="4">
                  <c:v>2.8498954745499265</c:v>
                </c:pt>
                <c:pt idx="5">
                  <c:v>3.32180395860213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2</c:f>
              <c:strCache>
                <c:ptCount val="141"/>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Bic</c:v>
                </c:pt>
                <c:pt idx="26">
                  <c:v>Gillette</c:v>
                </c:pt>
                <c:pt idx="27">
                  <c:v>Schick</c:v>
                </c:pt>
                <c:pt idx="28">
                  <c:v>Gillette</c:v>
                </c:pt>
                <c:pt idx="29">
                  <c:v>Gillette</c:v>
                </c:pt>
                <c:pt idx="30">
                  <c:v>Gillette</c:v>
                </c:pt>
                <c:pt idx="31">
                  <c:v>Bic</c:v>
                </c:pt>
                <c:pt idx="32">
                  <c:v>Schick</c:v>
                </c:pt>
                <c:pt idx="33">
                  <c:v>Dollar Shav</c:v>
                </c:pt>
                <c:pt idx="34">
                  <c:v>Equate</c:v>
                </c:pt>
                <c:pt idx="35">
                  <c:v>Dollar Shav</c:v>
                </c:pt>
                <c:pt idx="36">
                  <c:v>Gillette</c:v>
                </c:pt>
                <c:pt idx="37">
                  <c:v>Gillette</c:v>
                </c:pt>
                <c:pt idx="38">
                  <c:v>Schick</c:v>
                </c:pt>
                <c:pt idx="39">
                  <c:v>Schick</c:v>
                </c:pt>
                <c:pt idx="40">
                  <c:v>Harry's</c:v>
                </c:pt>
                <c:pt idx="41">
                  <c:v>Gillette</c:v>
                </c:pt>
                <c:pt idx="42">
                  <c:v>Gillette</c:v>
                </c:pt>
                <c:pt idx="43">
                  <c:v>Schick</c:v>
                </c:pt>
                <c:pt idx="44">
                  <c:v>Gillette</c:v>
                </c:pt>
                <c:pt idx="45">
                  <c:v>Bic</c:v>
                </c:pt>
                <c:pt idx="46">
                  <c:v>Gillette</c:v>
                </c:pt>
                <c:pt idx="47">
                  <c:v>Equate</c:v>
                </c:pt>
                <c:pt idx="48">
                  <c:v>Gillette</c:v>
                </c:pt>
                <c:pt idx="49">
                  <c:v>Gillette</c:v>
                </c:pt>
                <c:pt idx="50">
                  <c:v>Equate</c:v>
                </c:pt>
                <c:pt idx="51">
                  <c:v>Bic</c:v>
                </c:pt>
                <c:pt idx="52">
                  <c:v>Gillette</c:v>
                </c:pt>
                <c:pt idx="53">
                  <c:v>Bic</c:v>
                </c:pt>
                <c:pt idx="54">
                  <c:v>Equate</c:v>
                </c:pt>
                <c:pt idx="55">
                  <c:v>Schick</c:v>
                </c:pt>
                <c:pt idx="56">
                  <c:v>Bic</c:v>
                </c:pt>
                <c:pt idx="57">
                  <c:v>Bic</c:v>
                </c:pt>
                <c:pt idx="58">
                  <c:v>Bic</c:v>
                </c:pt>
                <c:pt idx="59">
                  <c:v>Van Der Hag</c:v>
                </c:pt>
                <c:pt idx="60">
                  <c:v>Equate</c:v>
                </c:pt>
                <c:pt idx="61">
                  <c:v>Gillette</c:v>
                </c:pt>
                <c:pt idx="62">
                  <c:v>Dollar Shav</c:v>
                </c:pt>
                <c:pt idx="63">
                  <c:v>Schick</c:v>
                </c:pt>
                <c:pt idx="64">
                  <c:v>Comfort 3</c:v>
                </c:pt>
                <c:pt idx="65">
                  <c:v>Gillette</c:v>
                </c:pt>
                <c:pt idx="66">
                  <c:v>Bic</c:v>
                </c:pt>
                <c:pt idx="67">
                  <c:v>Van Der Hag</c:v>
                </c:pt>
                <c:pt idx="68">
                  <c:v>Gillette</c:v>
                </c:pt>
                <c:pt idx="69">
                  <c:v>Gillette</c:v>
                </c:pt>
                <c:pt idx="70">
                  <c:v>Equate</c:v>
                </c:pt>
                <c:pt idx="71">
                  <c:v>Gillette</c:v>
                </c:pt>
                <c:pt idx="72">
                  <c:v>Comfort 3</c:v>
                </c:pt>
                <c:pt idx="73">
                  <c:v>Gillette</c:v>
                </c:pt>
                <c:pt idx="74">
                  <c:v>Equate</c:v>
                </c:pt>
                <c:pt idx="75">
                  <c:v>Harry's</c:v>
                </c:pt>
                <c:pt idx="76">
                  <c:v>Bic</c:v>
                </c:pt>
                <c:pt idx="77">
                  <c:v>Gillette</c:v>
                </c:pt>
                <c:pt idx="78">
                  <c:v>Gillette</c:v>
                </c:pt>
                <c:pt idx="79">
                  <c:v>Equate</c:v>
                </c:pt>
                <c:pt idx="80">
                  <c:v>Bic</c:v>
                </c:pt>
                <c:pt idx="81">
                  <c:v>Gillette</c:v>
                </c:pt>
                <c:pt idx="82">
                  <c:v>Bic</c:v>
                </c:pt>
                <c:pt idx="83">
                  <c:v>Gillette</c:v>
                </c:pt>
                <c:pt idx="84">
                  <c:v>Bic</c:v>
                </c:pt>
                <c:pt idx="85">
                  <c:v>Gillette</c:v>
                </c:pt>
                <c:pt idx="86">
                  <c:v>Schick</c:v>
                </c:pt>
                <c:pt idx="87">
                  <c:v>Gillette</c:v>
                </c:pt>
                <c:pt idx="88">
                  <c:v>Schick</c:v>
                </c:pt>
                <c:pt idx="89">
                  <c:v>Harry's</c:v>
                </c:pt>
                <c:pt idx="90">
                  <c:v>Gillette</c:v>
                </c:pt>
                <c:pt idx="91">
                  <c:v>Gillette</c:v>
                </c:pt>
                <c:pt idx="92">
                  <c:v>Bic</c:v>
                </c:pt>
                <c:pt idx="93">
                  <c:v>Bic</c:v>
                </c:pt>
                <c:pt idx="94">
                  <c:v>Gillette</c:v>
                </c:pt>
                <c:pt idx="95">
                  <c:v>Gillette</c:v>
                </c:pt>
                <c:pt idx="96">
                  <c:v>Gillette</c:v>
                </c:pt>
                <c:pt idx="97">
                  <c:v>Harry's</c:v>
                </c:pt>
                <c:pt idx="98">
                  <c:v>Gillette</c:v>
                </c:pt>
                <c:pt idx="99">
                  <c:v>Gillette</c:v>
                </c:pt>
                <c:pt idx="100">
                  <c:v>Bic</c:v>
                </c:pt>
                <c:pt idx="101">
                  <c:v>Gillette</c:v>
                </c:pt>
                <c:pt idx="102">
                  <c:v>Equate</c:v>
                </c:pt>
                <c:pt idx="103">
                  <c:v>Bic</c:v>
                </c:pt>
                <c:pt idx="104">
                  <c:v>Gillette</c:v>
                </c:pt>
                <c:pt idx="105">
                  <c:v>Gillette</c:v>
                </c:pt>
                <c:pt idx="106">
                  <c:v>Gillette</c:v>
                </c:pt>
                <c:pt idx="107">
                  <c:v>Schick</c:v>
                </c:pt>
                <c:pt idx="108">
                  <c:v>Schick</c:v>
                </c:pt>
                <c:pt idx="109">
                  <c:v>Bic</c:v>
                </c:pt>
                <c:pt idx="110">
                  <c:v>Gillette</c:v>
                </c:pt>
                <c:pt idx="111">
                  <c:v>Schick</c:v>
                </c:pt>
                <c:pt idx="112">
                  <c:v>Bic</c:v>
                </c:pt>
                <c:pt idx="113">
                  <c:v>Dollar Shav</c:v>
                </c:pt>
                <c:pt idx="114">
                  <c:v>Gillette</c:v>
                </c:pt>
                <c:pt idx="115">
                  <c:v>Bic</c:v>
                </c:pt>
                <c:pt idx="116">
                  <c:v>Gillette</c:v>
                </c:pt>
                <c:pt idx="117">
                  <c:v>Bic</c:v>
                </c:pt>
                <c:pt idx="118">
                  <c:v>Gillette</c:v>
                </c:pt>
                <c:pt idx="119">
                  <c:v>Gillette</c:v>
                </c:pt>
                <c:pt idx="120">
                  <c:v>Gillette</c:v>
                </c:pt>
                <c:pt idx="121">
                  <c:v>Harry's</c:v>
                </c:pt>
                <c:pt idx="122">
                  <c:v>Harry's</c:v>
                </c:pt>
                <c:pt idx="123">
                  <c:v>Gillette</c:v>
                </c:pt>
                <c:pt idx="124">
                  <c:v>Schick</c:v>
                </c:pt>
                <c:pt idx="125">
                  <c:v>Schick</c:v>
                </c:pt>
                <c:pt idx="126">
                  <c:v>Cremo</c:v>
                </c:pt>
                <c:pt idx="127">
                  <c:v>Cremo</c:v>
                </c:pt>
                <c:pt idx="128">
                  <c:v>Bic</c:v>
                </c:pt>
                <c:pt idx="129">
                  <c:v>Gillette</c:v>
                </c:pt>
                <c:pt idx="130">
                  <c:v>Comfort 3</c:v>
                </c:pt>
                <c:pt idx="131">
                  <c:v>Bic</c:v>
                </c:pt>
                <c:pt idx="132">
                  <c:v>Bic</c:v>
                </c:pt>
                <c:pt idx="133">
                  <c:v>Schick</c:v>
                </c:pt>
                <c:pt idx="134">
                  <c:v>Harry's</c:v>
                </c:pt>
                <c:pt idx="135">
                  <c:v>Bic</c:v>
                </c:pt>
                <c:pt idx="136">
                  <c:v>Harry's</c:v>
                </c:pt>
                <c:pt idx="137">
                  <c:v>Equate</c:v>
                </c:pt>
                <c:pt idx="138">
                  <c:v>Dollar Shav</c:v>
                </c:pt>
                <c:pt idx="139">
                  <c:v>Dollar Shav</c:v>
                </c:pt>
                <c:pt idx="140">
                  <c:v>Schick</c:v>
                </c:pt>
              </c:strCache>
            </c:strRef>
          </c:cat>
          <c:val>
            <c:numRef>
              <c:f>Sheet1!$B$2:$B$142</c:f>
              <c:numCache>
                <c:formatCode>General</c:formatCode>
                <c:ptCount val="141"/>
                <c:pt idx="0">
                  <c:v>0.98599999999999999</c:v>
                </c:pt>
                <c:pt idx="1">
                  <c:v>0.98799999999999999</c:v>
                </c:pt>
                <c:pt idx="2">
                  <c:v>0.98499999999999999</c:v>
                </c:pt>
                <c:pt idx="3">
                  <c:v>0.92900000000000005</c:v>
                </c:pt>
                <c:pt idx="4">
                  <c:v>0.92100000000000004</c:v>
                </c:pt>
                <c:pt idx="5">
                  <c:v>0.86099999999999999</c:v>
                </c:pt>
                <c:pt idx="6">
                  <c:v>0.61899999999999999</c:v>
                </c:pt>
                <c:pt idx="7">
                  <c:v>0.91</c:v>
                </c:pt>
                <c:pt idx="8">
                  <c:v>0.94899999999999995</c:v>
                </c:pt>
                <c:pt idx="9">
                  <c:v>0.82599999999999996</c:v>
                </c:pt>
                <c:pt idx="10">
                  <c:v>0.97499999999999998</c:v>
                </c:pt>
                <c:pt idx="11">
                  <c:v>0.98499999999999999</c:v>
                </c:pt>
                <c:pt idx="12">
                  <c:v>0.83799999999999997</c:v>
                </c:pt>
                <c:pt idx="13">
                  <c:v>0.78200000000000003</c:v>
                </c:pt>
                <c:pt idx="14">
                  <c:v>0.84899999999999998</c:v>
                </c:pt>
                <c:pt idx="15">
                  <c:v>0.94199999999999995</c:v>
                </c:pt>
                <c:pt idx="16">
                  <c:v>0.89700000000000002</c:v>
                </c:pt>
                <c:pt idx="17">
                  <c:v>0.85199999999999998</c:v>
                </c:pt>
                <c:pt idx="18">
                  <c:v>0.92100000000000004</c:v>
                </c:pt>
                <c:pt idx="19">
                  <c:v>0.96299999999999997</c:v>
                </c:pt>
                <c:pt idx="20">
                  <c:v>0.626</c:v>
                </c:pt>
                <c:pt idx="21">
                  <c:v>0.73499999999999999</c:v>
                </c:pt>
                <c:pt idx="22">
                  <c:v>0.65300000000000002</c:v>
                </c:pt>
                <c:pt idx="23">
                  <c:v>0.95</c:v>
                </c:pt>
                <c:pt idx="24">
                  <c:v>0.98699999999999999</c:v>
                </c:pt>
                <c:pt idx="25">
                  <c:v>0.94699999999999995</c:v>
                </c:pt>
                <c:pt idx="26">
                  <c:v>0.80400000000000005</c:v>
                </c:pt>
                <c:pt idx="27">
                  <c:v>0.78500000000000003</c:v>
                </c:pt>
                <c:pt idx="28">
                  <c:v>0.66500000000000004</c:v>
                </c:pt>
                <c:pt idx="29">
                  <c:v>0.63200000000000001</c:v>
                </c:pt>
                <c:pt idx="30">
                  <c:v>0.73799999999999999</c:v>
                </c:pt>
                <c:pt idx="31">
                  <c:v>0.81799999999999995</c:v>
                </c:pt>
                <c:pt idx="32">
                  <c:v>0.93899999999999995</c:v>
                </c:pt>
                <c:pt idx="33">
                  <c:v>0.86</c:v>
                </c:pt>
                <c:pt idx="34">
                  <c:v>0.84499999999999997</c:v>
                </c:pt>
                <c:pt idx="35">
                  <c:v>0.89100000000000001</c:v>
                </c:pt>
                <c:pt idx="36">
                  <c:v>0.60599999999999998</c:v>
                </c:pt>
                <c:pt idx="37">
                  <c:v>0.43099999999999999</c:v>
                </c:pt>
                <c:pt idx="38">
                  <c:v>0.85699999999999998</c:v>
                </c:pt>
                <c:pt idx="39">
                  <c:v>0.85199999999999998</c:v>
                </c:pt>
                <c:pt idx="40">
                  <c:v>0.83399999999999996</c:v>
                </c:pt>
                <c:pt idx="41">
                  <c:v>0.79300000000000004</c:v>
                </c:pt>
                <c:pt idx="42">
                  <c:v>0.54700000000000004</c:v>
                </c:pt>
                <c:pt idx="43">
                  <c:v>0.95</c:v>
                </c:pt>
                <c:pt idx="44">
                  <c:v>0.60899999999999999</c:v>
                </c:pt>
                <c:pt idx="45">
                  <c:v>0.59899999999999998</c:v>
                </c:pt>
                <c:pt idx="46">
                  <c:v>0.66600000000000004</c:v>
                </c:pt>
                <c:pt idx="47">
                  <c:v>0.98799999999999999</c:v>
                </c:pt>
                <c:pt idx="48">
                  <c:v>0.89100000000000001</c:v>
                </c:pt>
                <c:pt idx="49">
                  <c:v>0.82399999999999995</c:v>
                </c:pt>
                <c:pt idx="50">
                  <c:v>0.91100000000000003</c:v>
                </c:pt>
                <c:pt idx="51">
                  <c:v>0.78200000000000003</c:v>
                </c:pt>
                <c:pt idx="52">
                  <c:v>0.64600000000000002</c:v>
                </c:pt>
                <c:pt idx="53">
                  <c:v>0.88</c:v>
                </c:pt>
                <c:pt idx="54">
                  <c:v>0.95899999999999996</c:v>
                </c:pt>
                <c:pt idx="55">
                  <c:v>0.44800000000000001</c:v>
                </c:pt>
                <c:pt idx="56">
                  <c:v>0.89700000000000002</c:v>
                </c:pt>
                <c:pt idx="57">
                  <c:v>0.89600000000000002</c:v>
                </c:pt>
                <c:pt idx="58">
                  <c:v>0.95299999999999996</c:v>
                </c:pt>
                <c:pt idx="59">
                  <c:v>0.60699999999999998</c:v>
                </c:pt>
                <c:pt idx="60">
                  <c:v>0.93799999999999994</c:v>
                </c:pt>
                <c:pt idx="61">
                  <c:v>0.63400000000000001</c:v>
                </c:pt>
                <c:pt idx="62">
                  <c:v>0.56200000000000006</c:v>
                </c:pt>
                <c:pt idx="63">
                  <c:v>0.70099999999999996</c:v>
                </c:pt>
                <c:pt idx="64">
                  <c:v>0.875</c:v>
                </c:pt>
                <c:pt idx="65">
                  <c:v>0.61299999999999999</c:v>
                </c:pt>
                <c:pt idx="66">
                  <c:v>0.877</c:v>
                </c:pt>
                <c:pt idx="67">
                  <c:v>0.873</c:v>
                </c:pt>
                <c:pt idx="68">
                  <c:v>0.63200000000000001</c:v>
                </c:pt>
                <c:pt idx="69">
                  <c:v>0.54500000000000004</c:v>
                </c:pt>
                <c:pt idx="70">
                  <c:v>0.751</c:v>
                </c:pt>
                <c:pt idx="71">
                  <c:v>0.65200000000000002</c:v>
                </c:pt>
                <c:pt idx="72">
                  <c:v>0.62</c:v>
                </c:pt>
                <c:pt idx="73">
                  <c:v>0.65100000000000002</c:v>
                </c:pt>
                <c:pt idx="74">
                  <c:v>0.58399999999999996</c:v>
                </c:pt>
                <c:pt idx="75">
                  <c:v>0.52600000000000002</c:v>
                </c:pt>
                <c:pt idx="76">
                  <c:v>0.80500000000000005</c:v>
                </c:pt>
                <c:pt idx="77">
                  <c:v>0.32600000000000001</c:v>
                </c:pt>
                <c:pt idx="78">
                  <c:v>0.77700000000000002</c:v>
                </c:pt>
                <c:pt idx="79">
                  <c:v>0.97799999999999998</c:v>
                </c:pt>
                <c:pt idx="80">
                  <c:v>0.82199999999999995</c:v>
                </c:pt>
                <c:pt idx="81">
                  <c:v>0.433</c:v>
                </c:pt>
                <c:pt idx="82">
                  <c:v>0.65400000000000003</c:v>
                </c:pt>
                <c:pt idx="83">
                  <c:v>0.38500000000000001</c:v>
                </c:pt>
                <c:pt idx="84">
                  <c:v>0.76</c:v>
                </c:pt>
                <c:pt idx="85">
                  <c:v>0.46600000000000003</c:v>
                </c:pt>
                <c:pt idx="86">
                  <c:v>0.79300000000000004</c:v>
                </c:pt>
                <c:pt idx="87">
                  <c:v>0.19800000000000001</c:v>
                </c:pt>
                <c:pt idx="88">
                  <c:v>0.75900000000000001</c:v>
                </c:pt>
                <c:pt idx="89">
                  <c:v>0.23599999999999999</c:v>
                </c:pt>
                <c:pt idx="90">
                  <c:v>0.57299999999999995</c:v>
                </c:pt>
                <c:pt idx="91">
                  <c:v>0.433</c:v>
                </c:pt>
                <c:pt idx="92">
                  <c:v>0.80200000000000005</c:v>
                </c:pt>
                <c:pt idx="93">
                  <c:v>0.52400000000000002</c:v>
                </c:pt>
                <c:pt idx="94">
                  <c:v>0.28699999999999998</c:v>
                </c:pt>
                <c:pt idx="95">
                  <c:v>0.68200000000000005</c:v>
                </c:pt>
                <c:pt idx="96">
                  <c:v>0.16900000000000001</c:v>
                </c:pt>
                <c:pt idx="97">
                  <c:v>0.7</c:v>
                </c:pt>
                <c:pt idx="98">
                  <c:v>0.73299999999999998</c:v>
                </c:pt>
                <c:pt idx="99">
                  <c:v>0.72199999999999998</c:v>
                </c:pt>
                <c:pt idx="100">
                  <c:v>0.45400000000000001</c:v>
                </c:pt>
                <c:pt idx="101">
                  <c:v>0.61199999999999999</c:v>
                </c:pt>
                <c:pt idx="102">
                  <c:v>0.68899999999999995</c:v>
                </c:pt>
                <c:pt idx="103">
                  <c:v>0.753</c:v>
                </c:pt>
                <c:pt idx="104">
                  <c:v>0.35</c:v>
                </c:pt>
                <c:pt idx="105">
                  <c:v>0.54400000000000004</c:v>
                </c:pt>
                <c:pt idx="106">
                  <c:v>0.42899999999999999</c:v>
                </c:pt>
                <c:pt idx="107">
                  <c:v>0.84399999999999997</c:v>
                </c:pt>
                <c:pt idx="108">
                  <c:v>0.89600000000000002</c:v>
                </c:pt>
                <c:pt idx="109">
                  <c:v>0.81699999999999995</c:v>
                </c:pt>
                <c:pt idx="110">
                  <c:v>0.59599999999999997</c:v>
                </c:pt>
                <c:pt idx="111">
                  <c:v>0.63400000000000001</c:v>
                </c:pt>
                <c:pt idx="112">
                  <c:v>0.72199999999999998</c:v>
                </c:pt>
                <c:pt idx="113">
                  <c:v>0.63</c:v>
                </c:pt>
                <c:pt idx="114">
                  <c:v>0.3</c:v>
                </c:pt>
                <c:pt idx="115">
                  <c:v>0.7</c:v>
                </c:pt>
                <c:pt idx="116">
                  <c:v>0.53400000000000003</c:v>
                </c:pt>
                <c:pt idx="117">
                  <c:v>0.498</c:v>
                </c:pt>
                <c:pt idx="118">
                  <c:v>0.32300000000000001</c:v>
                </c:pt>
                <c:pt idx="119">
                  <c:v>0.38600000000000001</c:v>
                </c:pt>
                <c:pt idx="120">
                  <c:v>0.16700000000000001</c:v>
                </c:pt>
                <c:pt idx="121">
                  <c:v>0.65500000000000003</c:v>
                </c:pt>
                <c:pt idx="122">
                  <c:v>0.52500000000000002</c:v>
                </c:pt>
                <c:pt idx="123">
                  <c:v>0.17499999999999999</c:v>
                </c:pt>
                <c:pt idx="124">
                  <c:v>5.6000000000000001E-2</c:v>
                </c:pt>
                <c:pt idx="125">
                  <c:v>4.5999999999999999E-2</c:v>
                </c:pt>
                <c:pt idx="126">
                  <c:v>0.11700000000000001</c:v>
                </c:pt>
                <c:pt idx="127">
                  <c:v>6.4000000000000001E-2</c:v>
                </c:pt>
                <c:pt idx="128">
                  <c:v>3.5999999999999997E-2</c:v>
                </c:pt>
                <c:pt idx="129">
                  <c:v>0.32200000000000001</c:v>
                </c:pt>
                <c:pt idx="130">
                  <c:v>1.7999999999999999E-2</c:v>
                </c:pt>
                <c:pt idx="131">
                  <c:v>8.9999999999999993E-3</c:v>
                </c:pt>
                <c:pt idx="132">
                  <c:v>8.9999999999999993E-3</c:v>
                </c:pt>
                <c:pt idx="133">
                  <c:v>0.01</c:v>
                </c:pt>
                <c:pt idx="134">
                  <c:v>0.01</c:v>
                </c:pt>
                <c:pt idx="135">
                  <c:v>2E-3</c:v>
                </c:pt>
                <c:pt idx="136">
                  <c:v>1E-3</c:v>
                </c:pt>
                <c:pt idx="137">
                  <c:v>4.0000000000000001E-3</c:v>
                </c:pt>
                <c:pt idx="138">
                  <c:v>1E-3</c:v>
                </c:pt>
                <c:pt idx="139">
                  <c:v>1E-3</c:v>
                </c:pt>
                <c:pt idx="140">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2</c:f>
              <c:strCache>
                <c:ptCount val="141"/>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Bic</c:v>
                </c:pt>
                <c:pt idx="26">
                  <c:v>Gillette</c:v>
                </c:pt>
                <c:pt idx="27">
                  <c:v>Schick</c:v>
                </c:pt>
                <c:pt idx="28">
                  <c:v>Gillette</c:v>
                </c:pt>
                <c:pt idx="29">
                  <c:v>Gillette</c:v>
                </c:pt>
                <c:pt idx="30">
                  <c:v>Gillette</c:v>
                </c:pt>
                <c:pt idx="31">
                  <c:v>Bic</c:v>
                </c:pt>
                <c:pt idx="32">
                  <c:v>Schick</c:v>
                </c:pt>
                <c:pt idx="33">
                  <c:v>Dollar Shav</c:v>
                </c:pt>
                <c:pt idx="34">
                  <c:v>Equate</c:v>
                </c:pt>
                <c:pt idx="35">
                  <c:v>Dollar Shav</c:v>
                </c:pt>
                <c:pt idx="36">
                  <c:v>Gillette</c:v>
                </c:pt>
                <c:pt idx="37">
                  <c:v>Gillette</c:v>
                </c:pt>
                <c:pt idx="38">
                  <c:v>Schick</c:v>
                </c:pt>
                <c:pt idx="39">
                  <c:v>Schick</c:v>
                </c:pt>
                <c:pt idx="40">
                  <c:v>Harry's</c:v>
                </c:pt>
                <c:pt idx="41">
                  <c:v>Gillette</c:v>
                </c:pt>
                <c:pt idx="42">
                  <c:v>Gillette</c:v>
                </c:pt>
                <c:pt idx="43">
                  <c:v>Schick</c:v>
                </c:pt>
                <c:pt idx="44">
                  <c:v>Gillette</c:v>
                </c:pt>
                <c:pt idx="45">
                  <c:v>Bic</c:v>
                </c:pt>
                <c:pt idx="46">
                  <c:v>Gillette</c:v>
                </c:pt>
                <c:pt idx="47">
                  <c:v>Equate</c:v>
                </c:pt>
                <c:pt idx="48">
                  <c:v>Gillette</c:v>
                </c:pt>
                <c:pt idx="49">
                  <c:v>Gillette</c:v>
                </c:pt>
                <c:pt idx="50">
                  <c:v>Equate</c:v>
                </c:pt>
                <c:pt idx="51">
                  <c:v>Bic</c:v>
                </c:pt>
                <c:pt idx="52">
                  <c:v>Gillette</c:v>
                </c:pt>
                <c:pt idx="53">
                  <c:v>Bic</c:v>
                </c:pt>
                <c:pt idx="54">
                  <c:v>Equate</c:v>
                </c:pt>
                <c:pt idx="55">
                  <c:v>Schick</c:v>
                </c:pt>
                <c:pt idx="56">
                  <c:v>Bic</c:v>
                </c:pt>
                <c:pt idx="57">
                  <c:v>Bic</c:v>
                </c:pt>
                <c:pt idx="58">
                  <c:v>Bic</c:v>
                </c:pt>
                <c:pt idx="59">
                  <c:v>Van Der Hag</c:v>
                </c:pt>
                <c:pt idx="60">
                  <c:v>Equate</c:v>
                </c:pt>
                <c:pt idx="61">
                  <c:v>Gillette</c:v>
                </c:pt>
                <c:pt idx="62">
                  <c:v>Dollar Shav</c:v>
                </c:pt>
                <c:pt idx="63">
                  <c:v>Schick</c:v>
                </c:pt>
                <c:pt idx="64">
                  <c:v>Comfort 3</c:v>
                </c:pt>
                <c:pt idx="65">
                  <c:v>Gillette</c:v>
                </c:pt>
                <c:pt idx="66">
                  <c:v>Bic</c:v>
                </c:pt>
                <c:pt idx="67">
                  <c:v>Van Der Hag</c:v>
                </c:pt>
                <c:pt idx="68">
                  <c:v>Gillette</c:v>
                </c:pt>
                <c:pt idx="69">
                  <c:v>Gillette</c:v>
                </c:pt>
                <c:pt idx="70">
                  <c:v>Equate</c:v>
                </c:pt>
                <c:pt idx="71">
                  <c:v>Gillette</c:v>
                </c:pt>
                <c:pt idx="72">
                  <c:v>Comfort 3</c:v>
                </c:pt>
                <c:pt idx="73">
                  <c:v>Gillette</c:v>
                </c:pt>
                <c:pt idx="74">
                  <c:v>Equate</c:v>
                </c:pt>
                <c:pt idx="75">
                  <c:v>Harry's</c:v>
                </c:pt>
                <c:pt idx="76">
                  <c:v>Bic</c:v>
                </c:pt>
                <c:pt idx="77">
                  <c:v>Gillette</c:v>
                </c:pt>
                <c:pt idx="78">
                  <c:v>Gillette</c:v>
                </c:pt>
                <c:pt idx="79">
                  <c:v>Equate</c:v>
                </c:pt>
                <c:pt idx="80">
                  <c:v>Bic</c:v>
                </c:pt>
                <c:pt idx="81">
                  <c:v>Gillette</c:v>
                </c:pt>
                <c:pt idx="82">
                  <c:v>Bic</c:v>
                </c:pt>
                <c:pt idx="83">
                  <c:v>Gillette</c:v>
                </c:pt>
                <c:pt idx="84">
                  <c:v>Bic</c:v>
                </c:pt>
                <c:pt idx="85">
                  <c:v>Gillette</c:v>
                </c:pt>
                <c:pt idx="86">
                  <c:v>Schick</c:v>
                </c:pt>
                <c:pt idx="87">
                  <c:v>Gillette</c:v>
                </c:pt>
                <c:pt idx="88">
                  <c:v>Schick</c:v>
                </c:pt>
                <c:pt idx="89">
                  <c:v>Harry's</c:v>
                </c:pt>
                <c:pt idx="90">
                  <c:v>Gillette</c:v>
                </c:pt>
                <c:pt idx="91">
                  <c:v>Gillette</c:v>
                </c:pt>
                <c:pt idx="92">
                  <c:v>Bic</c:v>
                </c:pt>
                <c:pt idx="93">
                  <c:v>Bic</c:v>
                </c:pt>
                <c:pt idx="94">
                  <c:v>Gillette</c:v>
                </c:pt>
                <c:pt idx="95">
                  <c:v>Gillette</c:v>
                </c:pt>
                <c:pt idx="96">
                  <c:v>Gillette</c:v>
                </c:pt>
                <c:pt idx="97">
                  <c:v>Harry's</c:v>
                </c:pt>
                <c:pt idx="98">
                  <c:v>Gillette</c:v>
                </c:pt>
                <c:pt idx="99">
                  <c:v>Gillette</c:v>
                </c:pt>
                <c:pt idx="100">
                  <c:v>Bic</c:v>
                </c:pt>
                <c:pt idx="101">
                  <c:v>Gillette</c:v>
                </c:pt>
                <c:pt idx="102">
                  <c:v>Equate</c:v>
                </c:pt>
                <c:pt idx="103">
                  <c:v>Bic</c:v>
                </c:pt>
                <c:pt idx="104">
                  <c:v>Gillette</c:v>
                </c:pt>
                <c:pt idx="105">
                  <c:v>Gillette</c:v>
                </c:pt>
                <c:pt idx="106">
                  <c:v>Gillette</c:v>
                </c:pt>
                <c:pt idx="107">
                  <c:v>Schick</c:v>
                </c:pt>
                <c:pt idx="108">
                  <c:v>Schick</c:v>
                </c:pt>
                <c:pt idx="109">
                  <c:v>Bic</c:v>
                </c:pt>
                <c:pt idx="110">
                  <c:v>Gillette</c:v>
                </c:pt>
                <c:pt idx="111">
                  <c:v>Schick</c:v>
                </c:pt>
                <c:pt idx="112">
                  <c:v>Bic</c:v>
                </c:pt>
                <c:pt idx="113">
                  <c:v>Dollar Shav</c:v>
                </c:pt>
                <c:pt idx="114">
                  <c:v>Gillette</c:v>
                </c:pt>
                <c:pt idx="115">
                  <c:v>Bic</c:v>
                </c:pt>
                <c:pt idx="116">
                  <c:v>Gillette</c:v>
                </c:pt>
                <c:pt idx="117">
                  <c:v>Bic</c:v>
                </c:pt>
                <c:pt idx="118">
                  <c:v>Gillette</c:v>
                </c:pt>
                <c:pt idx="119">
                  <c:v>Gillette</c:v>
                </c:pt>
                <c:pt idx="120">
                  <c:v>Gillette</c:v>
                </c:pt>
                <c:pt idx="121">
                  <c:v>Harry's</c:v>
                </c:pt>
                <c:pt idx="122">
                  <c:v>Harry's</c:v>
                </c:pt>
                <c:pt idx="123">
                  <c:v>Gillette</c:v>
                </c:pt>
                <c:pt idx="124">
                  <c:v>Schick</c:v>
                </c:pt>
                <c:pt idx="125">
                  <c:v>Schick</c:v>
                </c:pt>
                <c:pt idx="126">
                  <c:v>Cremo</c:v>
                </c:pt>
                <c:pt idx="127">
                  <c:v>Cremo</c:v>
                </c:pt>
                <c:pt idx="128">
                  <c:v>Bic</c:v>
                </c:pt>
                <c:pt idx="129">
                  <c:v>Gillette</c:v>
                </c:pt>
                <c:pt idx="130">
                  <c:v>Comfort 3</c:v>
                </c:pt>
                <c:pt idx="131">
                  <c:v>Bic</c:v>
                </c:pt>
                <c:pt idx="132">
                  <c:v>Bic</c:v>
                </c:pt>
                <c:pt idx="133">
                  <c:v>Schick</c:v>
                </c:pt>
                <c:pt idx="134">
                  <c:v>Harry's</c:v>
                </c:pt>
                <c:pt idx="135">
                  <c:v>Bic</c:v>
                </c:pt>
                <c:pt idx="136">
                  <c:v>Harry's</c:v>
                </c:pt>
                <c:pt idx="137">
                  <c:v>Equate</c:v>
                </c:pt>
                <c:pt idx="138">
                  <c:v>Dollar Shav</c:v>
                </c:pt>
                <c:pt idx="139">
                  <c:v>Dollar Shav</c:v>
                </c:pt>
                <c:pt idx="140">
                  <c:v>Schick</c:v>
                </c:pt>
              </c:strCache>
            </c:strRef>
          </c:cat>
          <c:val>
            <c:numRef>
              <c:f>Sheet1!$C$2:$C$142</c:f>
              <c:numCache>
                <c:formatCode>General</c:formatCode>
                <c:ptCount val="141"/>
                <c:pt idx="0">
                  <c:v>5.5338531387806152E-2</c:v>
                </c:pt>
                <c:pt idx="1">
                  <c:v>0.10790650810667221</c:v>
                </c:pt>
                <c:pt idx="2">
                  <c:v>0.14388799964068727</c:v>
                </c:pt>
                <c:pt idx="3">
                  <c:v>0.17146433485114362</c:v>
                </c:pt>
                <c:pt idx="4">
                  <c:v>0.1984780917301307</c:v>
                </c:pt>
                <c:pt idx="5">
                  <c:v>0.22512293380616138</c:v>
                </c:pt>
                <c:pt idx="6">
                  <c:v>0.24857341977608077</c:v>
                </c:pt>
                <c:pt idx="7">
                  <c:v>0.27093768250167199</c:v>
                </c:pt>
                <c:pt idx="8">
                  <c:v>0.29303024590441645</c:v>
                </c:pt>
                <c:pt idx="9">
                  <c:v>0.31243374082179159</c:v>
                </c:pt>
                <c:pt idx="10">
                  <c:v>0.33031069397314344</c:v>
                </c:pt>
                <c:pt idx="11">
                  <c:v>0.34812722765373427</c:v>
                </c:pt>
                <c:pt idx="12">
                  <c:v>0.36567226150300941</c:v>
                </c:pt>
                <c:pt idx="13">
                  <c:v>0.3813309746811781</c:v>
                </c:pt>
                <c:pt idx="14">
                  <c:v>0.39696321451891869</c:v>
                </c:pt>
                <c:pt idx="15">
                  <c:v>0.41236691848713342</c:v>
                </c:pt>
                <c:pt idx="16">
                  <c:v>0.42683268045183542</c:v>
                </c:pt>
                <c:pt idx="17">
                  <c:v>0.44102990442377027</c:v>
                </c:pt>
                <c:pt idx="18">
                  <c:v>0.45411180381537075</c:v>
                </c:pt>
                <c:pt idx="19">
                  <c:v>0.46658849475668263</c:v>
                </c:pt>
                <c:pt idx="20">
                  <c:v>0.47900073364842621</c:v>
                </c:pt>
                <c:pt idx="21">
                  <c:v>0.49113265029767267</c:v>
                </c:pt>
                <c:pt idx="22">
                  <c:v>0.50320277139171909</c:v>
                </c:pt>
                <c:pt idx="23">
                  <c:v>0.51502947414089395</c:v>
                </c:pt>
                <c:pt idx="24">
                  <c:v>0.52661644099601113</c:v>
                </c:pt>
                <c:pt idx="25">
                  <c:v>0.53804617799020349</c:v>
                </c:pt>
                <c:pt idx="26">
                  <c:v>0.54907200977401005</c:v>
                </c:pt>
                <c:pt idx="27">
                  <c:v>0.56000898233010665</c:v>
                </c:pt>
                <c:pt idx="28">
                  <c:v>0.5706863899410799</c:v>
                </c:pt>
                <c:pt idx="29">
                  <c:v>0.5811983356120286</c:v>
                </c:pt>
                <c:pt idx="30">
                  <c:v>0.59142946234728022</c:v>
                </c:pt>
                <c:pt idx="31">
                  <c:v>0.60162622157723022</c:v>
                </c:pt>
                <c:pt idx="32">
                  <c:v>0.61167647056261021</c:v>
                </c:pt>
                <c:pt idx="33">
                  <c:v>0.62106479239840517</c:v>
                </c:pt>
                <c:pt idx="34">
                  <c:v>0.63039163827257549</c:v>
                </c:pt>
                <c:pt idx="35">
                  <c:v>0.63970371566656081</c:v>
                </c:pt>
                <c:pt idx="36">
                  <c:v>0.64899685357885883</c:v>
                </c:pt>
                <c:pt idx="37">
                  <c:v>0.65804661793009844</c:v>
                </c:pt>
                <c:pt idx="38">
                  <c:v>0.66700353525863387</c:v>
                </c:pt>
                <c:pt idx="39">
                  <c:v>0.67550098898537225</c:v>
                </c:pt>
                <c:pt idx="40">
                  <c:v>0.68388298189941676</c:v>
                </c:pt>
                <c:pt idx="41">
                  <c:v>0.69221477419459942</c:v>
                </c:pt>
                <c:pt idx="42">
                  <c:v>0.70049324728902596</c:v>
                </c:pt>
                <c:pt idx="43">
                  <c:v>0.70873965924452575</c:v>
                </c:pt>
                <c:pt idx="44">
                  <c:v>0.71682162910956304</c:v>
                </c:pt>
                <c:pt idx="45">
                  <c:v>0.72482803850375443</c:v>
                </c:pt>
                <c:pt idx="46">
                  <c:v>0.73269537176635102</c:v>
                </c:pt>
                <c:pt idx="47">
                  <c:v>0.74053567799773934</c:v>
                </c:pt>
                <c:pt idx="48">
                  <c:v>0.74819378739239728</c:v>
                </c:pt>
                <c:pt idx="49">
                  <c:v>0.75577202689201195</c:v>
                </c:pt>
                <c:pt idx="50">
                  <c:v>0.76313426591851408</c:v>
                </c:pt>
                <c:pt idx="51">
                  <c:v>0.77045145446466146</c:v>
                </c:pt>
                <c:pt idx="52">
                  <c:v>0.77775584094714467</c:v>
                </c:pt>
                <c:pt idx="53">
                  <c:v>0.78503982026024743</c:v>
                </c:pt>
                <c:pt idx="54">
                  <c:v>0.79230001122608051</c:v>
                </c:pt>
                <c:pt idx="55">
                  <c:v>0.79923025541324133</c:v>
                </c:pt>
                <c:pt idx="56">
                  <c:v>0.80596350985595233</c:v>
                </c:pt>
                <c:pt idx="57">
                  <c:v>0.81268980041572569</c:v>
                </c:pt>
                <c:pt idx="58">
                  <c:v>0.81939671383382007</c:v>
                </c:pt>
                <c:pt idx="59">
                  <c:v>0.82609063383923065</c:v>
                </c:pt>
                <c:pt idx="60">
                  <c:v>0.83271510229302825</c:v>
                </c:pt>
                <c:pt idx="61">
                  <c:v>0.83930379662266708</c:v>
                </c:pt>
                <c:pt idx="62">
                  <c:v>0.8456638533013866</c:v>
                </c:pt>
                <c:pt idx="63">
                  <c:v>0.85178259443882265</c:v>
                </c:pt>
                <c:pt idx="64">
                  <c:v>0.85775867063273203</c:v>
                </c:pt>
                <c:pt idx="65">
                  <c:v>0.86371962211157949</c:v>
                </c:pt>
                <c:pt idx="66">
                  <c:v>0.86909500894906799</c:v>
                </c:pt>
                <c:pt idx="67">
                  <c:v>0.87438086276602212</c:v>
                </c:pt>
                <c:pt idx="68">
                  <c:v>0.87965473487734303</c:v>
                </c:pt>
                <c:pt idx="69">
                  <c:v>0.88474844374417405</c:v>
                </c:pt>
                <c:pt idx="70">
                  <c:v>0.88958162481389991</c:v>
                </c:pt>
                <c:pt idx="71">
                  <c:v>0.894291395944106</c:v>
                </c:pt>
                <c:pt idx="72">
                  <c:v>0.89889580908272904</c:v>
                </c:pt>
                <c:pt idx="73">
                  <c:v>0.90349013161400848</c:v>
                </c:pt>
                <c:pt idx="74">
                  <c:v>0.90807133859493205</c:v>
                </c:pt>
                <c:pt idx="75">
                  <c:v>0.91202654522251947</c:v>
                </c:pt>
                <c:pt idx="76">
                  <c:v>0.91593088150967639</c:v>
                </c:pt>
                <c:pt idx="77">
                  <c:v>0.9198333063422649</c:v>
                </c:pt>
                <c:pt idx="78">
                  <c:v>0.92347383747144862</c:v>
                </c:pt>
                <c:pt idx="79">
                  <c:v>0.92704212416758391</c:v>
                </c:pt>
                <c:pt idx="80">
                  <c:v>0.93036171617141294</c:v>
                </c:pt>
                <c:pt idx="81">
                  <c:v>0.93367721656322655</c:v>
                </c:pt>
                <c:pt idx="82">
                  <c:v>0.9368985284535708</c:v>
                </c:pt>
                <c:pt idx="83">
                  <c:v>0.93984944382290403</c:v>
                </c:pt>
                <c:pt idx="84">
                  <c:v>0.94275485273123982</c:v>
                </c:pt>
                <c:pt idx="85">
                  <c:v>0.94562285697749437</c:v>
                </c:pt>
                <c:pt idx="86">
                  <c:v>0.9483963368436813</c:v>
                </c:pt>
                <c:pt idx="87">
                  <c:v>0.95090721664359312</c:v>
                </c:pt>
                <c:pt idx="88">
                  <c:v>0.95321613366017266</c:v>
                </c:pt>
                <c:pt idx="89">
                  <c:v>0.95549269437178452</c:v>
                </c:pt>
                <c:pt idx="90">
                  <c:v>0.95772947484359272</c:v>
                </c:pt>
                <c:pt idx="91">
                  <c:v>0.95993256567417951</c:v>
                </c:pt>
                <c:pt idx="92">
                  <c:v>0.96208808591711037</c:v>
                </c:pt>
                <c:pt idx="93">
                  <c:v>0.96423194811923907</c:v>
                </c:pt>
                <c:pt idx="94">
                  <c:v>0.96632200256992318</c:v>
                </c:pt>
                <c:pt idx="95">
                  <c:v>0.96832290466248427</c:v>
                </c:pt>
                <c:pt idx="96">
                  <c:v>0.97028777410614742</c:v>
                </c:pt>
                <c:pt idx="97">
                  <c:v>0.97224872700179188</c:v>
                </c:pt>
                <c:pt idx="98">
                  <c:v>0.97409491323384556</c:v>
                </c:pt>
                <c:pt idx="99">
                  <c:v>0.97578794493196686</c:v>
                </c:pt>
                <c:pt idx="100">
                  <c:v>0.97723906464983923</c:v>
                </c:pt>
                <c:pt idx="101">
                  <c:v>0.97868543524789475</c:v>
                </c:pt>
                <c:pt idx="102">
                  <c:v>0.98012072388783489</c:v>
                </c:pt>
                <c:pt idx="103">
                  <c:v>0.98154092038275886</c:v>
                </c:pt>
                <c:pt idx="104">
                  <c:v>0.98277253020507371</c:v>
                </c:pt>
                <c:pt idx="105">
                  <c:v>0.98398611250698631</c:v>
                </c:pt>
                <c:pt idx="106">
                  <c:v>0.98518064540330674</c:v>
                </c:pt>
                <c:pt idx="107">
                  <c:v>0.98634954363788074</c:v>
                </c:pt>
                <c:pt idx="108">
                  <c:v>0.98744568038992786</c:v>
                </c:pt>
                <c:pt idx="109">
                  <c:v>0.9885267738520277</c:v>
                </c:pt>
                <c:pt idx="110">
                  <c:v>0.98950475054882758</c:v>
                </c:pt>
                <c:pt idx="111">
                  <c:v>0.99044190272872734</c:v>
                </c:pt>
                <c:pt idx="112">
                  <c:v>0.99135391694008057</c:v>
                </c:pt>
                <c:pt idx="113">
                  <c:v>0.99225165122193726</c:v>
                </c:pt>
                <c:pt idx="114">
                  <c:v>0.99311399407767453</c:v>
                </c:pt>
                <c:pt idx="115">
                  <c:v>0.99389469604212299</c:v>
                </c:pt>
                <c:pt idx="116">
                  <c:v>0.99467130843018392</c:v>
                </c:pt>
                <c:pt idx="117">
                  <c:v>0.99543543020564451</c:v>
                </c:pt>
                <c:pt idx="118">
                  <c:v>0.99613777678218374</c:v>
                </c:pt>
                <c:pt idx="119">
                  <c:v>0.99680221182530249</c:v>
                </c:pt>
                <c:pt idx="120">
                  <c:v>0.99737800341726535</c:v>
                </c:pt>
                <c:pt idx="121">
                  <c:v>0.9979530723613349</c:v>
                </c:pt>
                <c:pt idx="122">
                  <c:v>0.99845506633618586</c:v>
                </c:pt>
                <c:pt idx="123">
                  <c:v>0.99894257478312543</c:v>
                </c:pt>
                <c:pt idx="124">
                  <c:v>0.99918671781151813</c:v>
                </c:pt>
                <c:pt idx="125">
                  <c:v>0.99939259917849699</c:v>
                </c:pt>
                <c:pt idx="126">
                  <c:v>0.99957420568314559</c:v>
                </c:pt>
                <c:pt idx="127">
                  <c:v>0.99966214887831484</c:v>
                </c:pt>
                <c:pt idx="128">
                  <c:v>0.99973348542133389</c:v>
                </c:pt>
                <c:pt idx="129">
                  <c:v>0.99979465400315048</c:v>
                </c:pt>
                <c:pt idx="130">
                  <c:v>0.99981847084921038</c:v>
                </c:pt>
                <c:pt idx="131">
                  <c:v>0.99983526681475232</c:v>
                </c:pt>
                <c:pt idx="132">
                  <c:v>0.99984954470862109</c:v>
                </c:pt>
                <c:pt idx="133">
                  <c:v>0.99986103379231017</c:v>
                </c:pt>
                <c:pt idx="134">
                  <c:v>0.99988084248709719</c:v>
                </c:pt>
                <c:pt idx="135">
                  <c:v>0.99989033258421955</c:v>
                </c:pt>
                <c:pt idx="136">
                  <c:v>0.99990703491087951</c:v>
                </c:pt>
                <c:pt idx="137">
                  <c:v>0.99992071025889928</c:v>
                </c:pt>
                <c:pt idx="138">
                  <c:v>0.99993020035602154</c:v>
                </c:pt>
                <c:pt idx="139">
                  <c:v>0.99994933118672846</c:v>
                </c:pt>
                <c:pt idx="140">
                  <c:v>0.9999518777571917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8</c:f>
              <c:strCache>
                <c:ptCount val="17"/>
                <c:pt idx="0">
                  <c:v>Gillette</c:v>
                </c:pt>
                <c:pt idx="1">
                  <c:v>Gillette</c:v>
                </c:pt>
                <c:pt idx="2">
                  <c:v>Gillette</c:v>
                </c:pt>
                <c:pt idx="3">
                  <c:v>Gillette</c:v>
                </c:pt>
                <c:pt idx="4">
                  <c:v>Schick</c:v>
                </c:pt>
                <c:pt idx="5">
                  <c:v>Harry's</c:v>
                </c:pt>
                <c:pt idx="6">
                  <c:v>Gillette</c:v>
                </c:pt>
                <c:pt idx="7">
                  <c:v>Gillette</c:v>
                </c:pt>
                <c:pt idx="8">
                  <c:v>Gillette</c:v>
                </c:pt>
                <c:pt idx="9">
                  <c:v>Gillette</c:v>
                </c:pt>
                <c:pt idx="10">
                  <c:v>Bic</c:v>
                </c:pt>
                <c:pt idx="11">
                  <c:v>Gillette</c:v>
                </c:pt>
                <c:pt idx="12">
                  <c:v>Schick</c:v>
                </c:pt>
                <c:pt idx="13">
                  <c:v>Pbg Pl</c:v>
                </c:pt>
                <c:pt idx="14">
                  <c:v>Pbg Pl</c:v>
                </c:pt>
                <c:pt idx="15">
                  <c:v>Schick</c:v>
                </c:pt>
                <c:pt idx="16">
                  <c:v>Dollar Shav</c:v>
                </c:pt>
              </c:strCache>
            </c:strRef>
          </c:cat>
          <c:val>
            <c:numRef>
              <c:f>Sheet1!$B$2:$B$18</c:f>
              <c:numCache>
                <c:formatCode>General</c:formatCode>
                <c:ptCount val="17"/>
                <c:pt idx="0">
                  <c:v>1</c:v>
                </c:pt>
                <c:pt idx="1">
                  <c:v>1</c:v>
                </c:pt>
                <c:pt idx="2">
                  <c:v>1</c:v>
                </c:pt>
                <c:pt idx="3">
                  <c:v>0.98</c:v>
                </c:pt>
                <c:pt idx="4">
                  <c:v>0.99</c:v>
                </c:pt>
                <c:pt idx="5">
                  <c:v>0.99</c:v>
                </c:pt>
                <c:pt idx="6">
                  <c:v>0.99</c:v>
                </c:pt>
                <c:pt idx="7">
                  <c:v>0.97</c:v>
                </c:pt>
                <c:pt idx="8">
                  <c:v>0.77</c:v>
                </c:pt>
                <c:pt idx="9">
                  <c:v>0.88</c:v>
                </c:pt>
                <c:pt idx="10">
                  <c:v>0.8</c:v>
                </c:pt>
                <c:pt idx="11">
                  <c:v>0.77</c:v>
                </c:pt>
                <c:pt idx="12">
                  <c:v>0.86</c:v>
                </c:pt>
                <c:pt idx="13">
                  <c:v>0.57999999999999996</c:v>
                </c:pt>
                <c:pt idx="14">
                  <c:v>0.6</c:v>
                </c:pt>
                <c:pt idx="15">
                  <c:v>0.3</c:v>
                </c:pt>
                <c:pt idx="1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8</c:f>
              <c:strCache>
                <c:ptCount val="17"/>
                <c:pt idx="0">
                  <c:v>Gillette</c:v>
                </c:pt>
                <c:pt idx="1">
                  <c:v>Gillette</c:v>
                </c:pt>
                <c:pt idx="2">
                  <c:v>Gillette</c:v>
                </c:pt>
                <c:pt idx="3">
                  <c:v>Gillette</c:v>
                </c:pt>
                <c:pt idx="4">
                  <c:v>Schick</c:v>
                </c:pt>
                <c:pt idx="5">
                  <c:v>Harry's</c:v>
                </c:pt>
                <c:pt idx="6">
                  <c:v>Gillette</c:v>
                </c:pt>
                <c:pt idx="7">
                  <c:v>Gillette</c:v>
                </c:pt>
                <c:pt idx="8">
                  <c:v>Gillette</c:v>
                </c:pt>
                <c:pt idx="9">
                  <c:v>Gillette</c:v>
                </c:pt>
                <c:pt idx="10">
                  <c:v>Bic</c:v>
                </c:pt>
                <c:pt idx="11">
                  <c:v>Gillette</c:v>
                </c:pt>
                <c:pt idx="12">
                  <c:v>Schick</c:v>
                </c:pt>
                <c:pt idx="13">
                  <c:v>Pbg Pl</c:v>
                </c:pt>
                <c:pt idx="14">
                  <c:v>Pbg Pl</c:v>
                </c:pt>
                <c:pt idx="15">
                  <c:v>Schick</c:v>
                </c:pt>
                <c:pt idx="16">
                  <c:v>Dollar Shav</c:v>
                </c:pt>
              </c:strCache>
            </c:strRef>
          </c:cat>
          <c:val>
            <c:numRef>
              <c:f>Sheet1!$C$2:$C$18</c:f>
              <c:numCache>
                <c:formatCode>General</c:formatCode>
                <c:ptCount val="17"/>
                <c:pt idx="0">
                  <c:v>0.34197166949411889</c:v>
                </c:pt>
                <c:pt idx="1">
                  <c:v>0.50139775994728908</c:v>
                </c:pt>
                <c:pt idx="2">
                  <c:v>0.62175475371289823</c:v>
                </c:pt>
                <c:pt idx="3">
                  <c:v>0.71278658132363515</c:v>
                </c:pt>
                <c:pt idx="4">
                  <c:v>0.78463873881366508</c:v>
                </c:pt>
                <c:pt idx="5">
                  <c:v>0.85006765698819409</c:v>
                </c:pt>
                <c:pt idx="6">
                  <c:v>0.90256437668607525</c:v>
                </c:pt>
                <c:pt idx="7">
                  <c:v>0.94152776084356848</c:v>
                </c:pt>
                <c:pt idx="8">
                  <c:v>0.95543288279813599</c:v>
                </c:pt>
                <c:pt idx="9">
                  <c:v>0.96738996150843015</c:v>
                </c:pt>
                <c:pt idx="10">
                  <c:v>0.97930666726956928</c:v>
                </c:pt>
                <c:pt idx="11">
                  <c:v>0.98835896073569196</c:v>
                </c:pt>
                <c:pt idx="12">
                  <c:v>0.9961211285369731</c:v>
                </c:pt>
                <c:pt idx="13">
                  <c:v>0.99824112824628786</c:v>
                </c:pt>
                <c:pt idx="14">
                  <c:v>0.99927399747911305</c:v>
                </c:pt>
                <c:pt idx="15">
                  <c:v>0.99998992291189093</c:v>
                </c:pt>
                <c:pt idx="16">
                  <c:v>0.9999987403639863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c:f>
              <c:strCache>
                <c:ptCount val="14"/>
                <c:pt idx="0">
                  <c:v>Gillette</c:v>
                </c:pt>
                <c:pt idx="1">
                  <c:v>Gillette</c:v>
                </c:pt>
                <c:pt idx="2">
                  <c:v>Gillette</c:v>
                </c:pt>
                <c:pt idx="3">
                  <c:v>Schick</c:v>
                </c:pt>
                <c:pt idx="4">
                  <c:v>Gillette</c:v>
                </c:pt>
                <c:pt idx="5">
                  <c:v>Gillette</c:v>
                </c:pt>
                <c:pt idx="6">
                  <c:v>Gillette</c:v>
                </c:pt>
                <c:pt idx="7">
                  <c:v>Gillette</c:v>
                </c:pt>
                <c:pt idx="8">
                  <c:v>Gillette</c:v>
                </c:pt>
                <c:pt idx="9">
                  <c:v>Schick</c:v>
                </c:pt>
                <c:pt idx="10">
                  <c:v>Gillette</c:v>
                </c:pt>
                <c:pt idx="11">
                  <c:v>Bic</c:v>
                </c:pt>
                <c:pt idx="12">
                  <c:v>Gillette</c:v>
                </c:pt>
                <c:pt idx="13">
                  <c:v>Bic</c:v>
                </c:pt>
              </c:strCache>
            </c:strRef>
          </c:cat>
          <c:val>
            <c:numRef>
              <c:f>Sheet1!$B$2:$B$15</c:f>
              <c:numCache>
                <c:formatCode>General</c:formatCode>
                <c:ptCount val="14"/>
                <c:pt idx="0">
                  <c:v>0.94</c:v>
                </c:pt>
                <c:pt idx="1">
                  <c:v>0.94</c:v>
                </c:pt>
                <c:pt idx="2">
                  <c:v>1</c:v>
                </c:pt>
                <c:pt idx="3">
                  <c:v>0.97</c:v>
                </c:pt>
                <c:pt idx="4">
                  <c:v>0.91</c:v>
                </c:pt>
                <c:pt idx="5">
                  <c:v>0.8</c:v>
                </c:pt>
                <c:pt idx="6">
                  <c:v>0.63</c:v>
                </c:pt>
                <c:pt idx="7">
                  <c:v>0.1</c:v>
                </c:pt>
                <c:pt idx="8">
                  <c:v>0.27</c:v>
                </c:pt>
                <c:pt idx="9">
                  <c:v>0.71</c:v>
                </c:pt>
                <c:pt idx="10">
                  <c:v>0.66</c:v>
                </c:pt>
                <c:pt idx="11">
                  <c:v>0.06</c:v>
                </c:pt>
                <c:pt idx="12">
                  <c:v>0.15</c:v>
                </c:pt>
                <c:pt idx="13">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c:f>
              <c:strCache>
                <c:ptCount val="14"/>
                <c:pt idx="0">
                  <c:v>Gillette</c:v>
                </c:pt>
                <c:pt idx="1">
                  <c:v>Gillette</c:v>
                </c:pt>
                <c:pt idx="2">
                  <c:v>Gillette</c:v>
                </c:pt>
                <c:pt idx="3">
                  <c:v>Schick</c:v>
                </c:pt>
                <c:pt idx="4">
                  <c:v>Gillette</c:v>
                </c:pt>
                <c:pt idx="5">
                  <c:v>Gillette</c:v>
                </c:pt>
                <c:pt idx="6">
                  <c:v>Gillette</c:v>
                </c:pt>
                <c:pt idx="7">
                  <c:v>Gillette</c:v>
                </c:pt>
                <c:pt idx="8">
                  <c:v>Gillette</c:v>
                </c:pt>
                <c:pt idx="9">
                  <c:v>Schick</c:v>
                </c:pt>
                <c:pt idx="10">
                  <c:v>Gillette</c:v>
                </c:pt>
                <c:pt idx="11">
                  <c:v>Bic</c:v>
                </c:pt>
                <c:pt idx="12">
                  <c:v>Gillette</c:v>
                </c:pt>
                <c:pt idx="13">
                  <c:v>Bic</c:v>
                </c:pt>
              </c:strCache>
            </c:strRef>
          </c:cat>
          <c:val>
            <c:numRef>
              <c:f>Sheet1!$C$2:$C$15</c:f>
              <c:numCache>
                <c:formatCode>General</c:formatCode>
                <c:ptCount val="14"/>
                <c:pt idx="0">
                  <c:v>0.38562323914737534</c:v>
                </c:pt>
                <c:pt idx="1">
                  <c:v>0.54243939605258507</c:v>
                </c:pt>
                <c:pt idx="2">
                  <c:v>0.68430976442792102</c:v>
                </c:pt>
                <c:pt idx="3">
                  <c:v>0.78223146345388439</c:v>
                </c:pt>
                <c:pt idx="4">
                  <c:v>0.85991571950230217</c:v>
                </c:pt>
                <c:pt idx="5">
                  <c:v>0.92271757568862911</c:v>
                </c:pt>
                <c:pt idx="6">
                  <c:v>0.96796316962928552</c:v>
                </c:pt>
                <c:pt idx="7">
                  <c:v>0.97589024014521386</c:v>
                </c:pt>
                <c:pt idx="8">
                  <c:v>0.98298531773864017</c:v>
                </c:pt>
                <c:pt idx="9">
                  <c:v>0.98829960465038724</c:v>
                </c:pt>
                <c:pt idx="10">
                  <c:v>0.9930626389202134</c:v>
                </c:pt>
                <c:pt idx="11">
                  <c:v>0.99711681508680505</c:v>
                </c:pt>
                <c:pt idx="12">
                  <c:v>0.99902908061744788</c:v>
                </c:pt>
                <c:pt idx="13">
                  <c:v>0.9998905246168525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0</c:f>
              <c:strCache>
                <c:ptCount val="139"/>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pt idx="22">
                  <c:v>Gillette</c:v>
                </c:pt>
                <c:pt idx="23">
                  <c:v>Harry's</c:v>
                </c:pt>
                <c:pt idx="24">
                  <c:v>Schick</c:v>
                </c:pt>
                <c:pt idx="25">
                  <c:v>Gillette</c:v>
                </c:pt>
                <c:pt idx="26">
                  <c:v>Harry's</c:v>
                </c:pt>
                <c:pt idx="27">
                  <c:v>Gillette</c:v>
                </c:pt>
                <c:pt idx="28">
                  <c:v>Gillette</c:v>
                </c:pt>
                <c:pt idx="29">
                  <c:v>Gillette</c:v>
                </c:pt>
                <c:pt idx="30">
                  <c:v>Gillette</c:v>
                </c:pt>
                <c:pt idx="31">
                  <c:v>Schick</c:v>
                </c:pt>
                <c:pt idx="32">
                  <c:v>Gillette</c:v>
                </c:pt>
                <c:pt idx="33">
                  <c:v>Gillette</c:v>
                </c:pt>
                <c:pt idx="34">
                  <c:v>Schick</c:v>
                </c:pt>
                <c:pt idx="35">
                  <c:v>Bic</c:v>
                </c:pt>
                <c:pt idx="36">
                  <c:v>Gillette</c:v>
                </c:pt>
                <c:pt idx="37">
                  <c:v>Gillette</c:v>
                </c:pt>
                <c:pt idx="38">
                  <c:v>Bic</c:v>
                </c:pt>
                <c:pt idx="39">
                  <c:v>Gillette</c:v>
                </c:pt>
                <c:pt idx="40">
                  <c:v>Equate</c:v>
                </c:pt>
                <c:pt idx="41">
                  <c:v>Gillette</c:v>
                </c:pt>
                <c:pt idx="42">
                  <c:v>Gillette</c:v>
                </c:pt>
                <c:pt idx="43">
                  <c:v>Harry's</c:v>
                </c:pt>
                <c:pt idx="44">
                  <c:v>Schick</c:v>
                </c:pt>
                <c:pt idx="45">
                  <c:v>Schick</c:v>
                </c:pt>
                <c:pt idx="46">
                  <c:v>Equate</c:v>
                </c:pt>
                <c:pt idx="47">
                  <c:v>Bic</c:v>
                </c:pt>
                <c:pt idx="48">
                  <c:v>Dollar Shav</c:v>
                </c:pt>
                <c:pt idx="49">
                  <c:v>Gillette</c:v>
                </c:pt>
                <c:pt idx="50">
                  <c:v>Bic</c:v>
                </c:pt>
                <c:pt idx="51">
                  <c:v>Gillette</c:v>
                </c:pt>
                <c:pt idx="52">
                  <c:v>Equate</c:v>
                </c:pt>
                <c:pt idx="53">
                  <c:v>Dollar Shav</c:v>
                </c:pt>
                <c:pt idx="54">
                  <c:v>Bic</c:v>
                </c:pt>
                <c:pt idx="55">
                  <c:v>Bic</c:v>
                </c:pt>
                <c:pt idx="56">
                  <c:v>Equate</c:v>
                </c:pt>
                <c:pt idx="57">
                  <c:v>Schick</c:v>
                </c:pt>
                <c:pt idx="58">
                  <c:v>Gillette</c:v>
                </c:pt>
                <c:pt idx="59">
                  <c:v>Equate</c:v>
                </c:pt>
                <c:pt idx="60">
                  <c:v>Bic</c:v>
                </c:pt>
                <c:pt idx="61">
                  <c:v>Bic</c:v>
                </c:pt>
                <c:pt idx="62">
                  <c:v>Bic</c:v>
                </c:pt>
                <c:pt idx="63">
                  <c:v>Gillette</c:v>
                </c:pt>
                <c:pt idx="64">
                  <c:v>Comfort 3</c:v>
                </c:pt>
                <c:pt idx="65">
                  <c:v>Van Der Hag</c:v>
                </c:pt>
                <c:pt idx="66">
                  <c:v>Van Der Hag</c:v>
                </c:pt>
                <c:pt idx="67">
                  <c:v>Dollar Shav</c:v>
                </c:pt>
                <c:pt idx="68">
                  <c:v>Comfort 3</c:v>
                </c:pt>
                <c:pt idx="69">
                  <c:v>Schick</c:v>
                </c:pt>
                <c:pt idx="70">
                  <c:v>Gillette</c:v>
                </c:pt>
                <c:pt idx="71">
                  <c:v>Gillette</c:v>
                </c:pt>
                <c:pt idx="72">
                  <c:v>Gillette</c:v>
                </c:pt>
                <c:pt idx="73">
                  <c:v>Equate</c:v>
                </c:pt>
                <c:pt idx="74">
                  <c:v>Equate</c:v>
                </c:pt>
                <c:pt idx="75">
                  <c:v>Bic</c:v>
                </c:pt>
                <c:pt idx="76">
                  <c:v>Gillette</c:v>
                </c:pt>
                <c:pt idx="77">
                  <c:v>Bic</c:v>
                </c:pt>
                <c:pt idx="78">
                  <c:v>Gillette</c:v>
                </c:pt>
                <c:pt idx="79">
                  <c:v>Equate</c:v>
                </c:pt>
                <c:pt idx="80">
                  <c:v>Bic</c:v>
                </c:pt>
                <c:pt idx="81">
                  <c:v>Gillette</c:v>
                </c:pt>
                <c:pt idx="82">
                  <c:v>Gillette</c:v>
                </c:pt>
                <c:pt idx="83">
                  <c:v>Gillette</c:v>
                </c:pt>
                <c:pt idx="84">
                  <c:v>Gillette</c:v>
                </c:pt>
                <c:pt idx="85">
                  <c:v>Bic</c:v>
                </c:pt>
                <c:pt idx="86">
                  <c:v>Harry's</c:v>
                </c:pt>
                <c:pt idx="87">
                  <c:v>Gillette</c:v>
                </c:pt>
                <c:pt idx="88">
                  <c:v>Gillette</c:v>
                </c:pt>
                <c:pt idx="89">
                  <c:v>Gillette</c:v>
                </c:pt>
                <c:pt idx="90">
                  <c:v>Gillette</c:v>
                </c:pt>
                <c:pt idx="91">
                  <c:v>Gillette</c:v>
                </c:pt>
                <c:pt idx="92">
                  <c:v>Gillette</c:v>
                </c:pt>
                <c:pt idx="93">
                  <c:v>Bic</c:v>
                </c:pt>
                <c:pt idx="94">
                  <c:v>Equate</c:v>
                </c:pt>
                <c:pt idx="95">
                  <c:v>Harry's</c:v>
                </c:pt>
                <c:pt idx="96">
                  <c:v>Gillette</c:v>
                </c:pt>
                <c:pt idx="97">
                  <c:v>Schick</c:v>
                </c:pt>
                <c:pt idx="98">
                  <c:v>Harry's</c:v>
                </c:pt>
                <c:pt idx="99">
                  <c:v>Bic</c:v>
                </c:pt>
                <c:pt idx="100">
                  <c:v>Schick</c:v>
                </c:pt>
                <c:pt idx="101">
                  <c:v>Schick</c:v>
                </c:pt>
                <c:pt idx="102">
                  <c:v>Gillette</c:v>
                </c:pt>
                <c:pt idx="103">
                  <c:v>Gillette</c:v>
                </c:pt>
                <c:pt idx="104">
                  <c:v>Gillette</c:v>
                </c:pt>
                <c:pt idx="105">
                  <c:v>Gillette</c:v>
                </c:pt>
                <c:pt idx="106">
                  <c:v>Bic</c:v>
                </c:pt>
                <c:pt idx="107">
                  <c:v>Bic</c:v>
                </c:pt>
                <c:pt idx="108">
                  <c:v>Dollar Shav</c:v>
                </c:pt>
                <c:pt idx="109">
                  <c:v>Bic</c:v>
                </c:pt>
                <c:pt idx="110">
                  <c:v>Gillette</c:v>
                </c:pt>
                <c:pt idx="111">
                  <c:v>Gillette</c:v>
                </c:pt>
                <c:pt idx="112">
                  <c:v>Gillette</c:v>
                </c:pt>
                <c:pt idx="113">
                  <c:v>Harry's</c:v>
                </c:pt>
                <c:pt idx="114">
                  <c:v>Harry's</c:v>
                </c:pt>
                <c:pt idx="115">
                  <c:v>Gillette</c:v>
                </c:pt>
                <c:pt idx="116">
                  <c:v>Gillette</c:v>
                </c:pt>
                <c:pt idx="117">
                  <c:v>Gillette</c:v>
                </c:pt>
                <c:pt idx="118">
                  <c:v>Schick</c:v>
                </c:pt>
                <c:pt idx="119">
                  <c:v>Schick</c:v>
                </c:pt>
                <c:pt idx="120">
                  <c:v>Schick</c:v>
                </c:pt>
                <c:pt idx="121">
                  <c:v>Gillette</c:v>
                </c:pt>
                <c:pt idx="122">
                  <c:v>Bic</c:v>
                </c:pt>
                <c:pt idx="123">
                  <c:v>Schick</c:v>
                </c:pt>
                <c:pt idx="124">
                  <c:v>Gillette</c:v>
                </c:pt>
                <c:pt idx="125">
                  <c:v>Cremo</c:v>
                </c:pt>
                <c:pt idx="126">
                  <c:v>Bic</c:v>
                </c:pt>
                <c:pt idx="127">
                  <c:v>Bic</c:v>
                </c:pt>
                <c:pt idx="128">
                  <c:v>Cremo</c:v>
                </c:pt>
                <c:pt idx="129">
                  <c:v>Bic</c:v>
                </c:pt>
                <c:pt idx="130">
                  <c:v>Harry's</c:v>
                </c:pt>
                <c:pt idx="131">
                  <c:v>Comfort 3</c:v>
                </c:pt>
                <c:pt idx="132">
                  <c:v>Schick</c:v>
                </c:pt>
                <c:pt idx="133">
                  <c:v>Bic</c:v>
                </c:pt>
                <c:pt idx="134">
                  <c:v>Harry's</c:v>
                </c:pt>
                <c:pt idx="135">
                  <c:v>Bic</c:v>
                </c:pt>
                <c:pt idx="136">
                  <c:v>Schick</c:v>
                </c:pt>
                <c:pt idx="137">
                  <c:v>Dollar Shav</c:v>
                </c:pt>
                <c:pt idx="138">
                  <c:v>Dollar Shav</c:v>
                </c:pt>
              </c:strCache>
            </c:strRef>
          </c:cat>
          <c:val>
            <c:numRef>
              <c:f>Sheet1!$B$2:$B$140</c:f>
              <c:numCache>
                <c:formatCode>General</c:formatCode>
                <c:ptCount val="139"/>
                <c:pt idx="0">
                  <c:v>0.99</c:v>
                </c:pt>
                <c:pt idx="1">
                  <c:v>0.99</c:v>
                </c:pt>
                <c:pt idx="2">
                  <c:v>0.99</c:v>
                </c:pt>
                <c:pt idx="3">
                  <c:v>0.88</c:v>
                </c:pt>
                <c:pt idx="4">
                  <c:v>0.93</c:v>
                </c:pt>
                <c:pt idx="5">
                  <c:v>0.94</c:v>
                </c:pt>
                <c:pt idx="6">
                  <c:v>0.9</c:v>
                </c:pt>
                <c:pt idx="7">
                  <c:v>0.87</c:v>
                </c:pt>
                <c:pt idx="8">
                  <c:v>0.52</c:v>
                </c:pt>
                <c:pt idx="9">
                  <c:v>0.95</c:v>
                </c:pt>
                <c:pt idx="10">
                  <c:v>0.96</c:v>
                </c:pt>
                <c:pt idx="11">
                  <c:v>0.98</c:v>
                </c:pt>
                <c:pt idx="12">
                  <c:v>0.88</c:v>
                </c:pt>
                <c:pt idx="13">
                  <c:v>0.98</c:v>
                </c:pt>
                <c:pt idx="14">
                  <c:v>0.79</c:v>
                </c:pt>
                <c:pt idx="15">
                  <c:v>0.77</c:v>
                </c:pt>
                <c:pt idx="16">
                  <c:v>0.9</c:v>
                </c:pt>
                <c:pt idx="17">
                  <c:v>0.81</c:v>
                </c:pt>
                <c:pt idx="18">
                  <c:v>0.95</c:v>
                </c:pt>
                <c:pt idx="19">
                  <c:v>0.74</c:v>
                </c:pt>
                <c:pt idx="20">
                  <c:v>0.99</c:v>
                </c:pt>
                <c:pt idx="21">
                  <c:v>0.76</c:v>
                </c:pt>
                <c:pt idx="22">
                  <c:v>0.95</c:v>
                </c:pt>
                <c:pt idx="23">
                  <c:v>0.75</c:v>
                </c:pt>
                <c:pt idx="24">
                  <c:v>0.94</c:v>
                </c:pt>
                <c:pt idx="25">
                  <c:v>0.68</c:v>
                </c:pt>
                <c:pt idx="26">
                  <c:v>0.88</c:v>
                </c:pt>
                <c:pt idx="27">
                  <c:v>0.76</c:v>
                </c:pt>
                <c:pt idx="28">
                  <c:v>0.67</c:v>
                </c:pt>
                <c:pt idx="29">
                  <c:v>0.73</c:v>
                </c:pt>
                <c:pt idx="30">
                  <c:v>0.67</c:v>
                </c:pt>
                <c:pt idx="31">
                  <c:v>0.79</c:v>
                </c:pt>
                <c:pt idx="32">
                  <c:v>0.54</c:v>
                </c:pt>
                <c:pt idx="33">
                  <c:v>0.53</c:v>
                </c:pt>
                <c:pt idx="34">
                  <c:v>0.87</c:v>
                </c:pt>
                <c:pt idx="35">
                  <c:v>0.92</c:v>
                </c:pt>
                <c:pt idx="36">
                  <c:v>0.82</c:v>
                </c:pt>
                <c:pt idx="37">
                  <c:v>0.71</c:v>
                </c:pt>
                <c:pt idx="38">
                  <c:v>0.8</c:v>
                </c:pt>
                <c:pt idx="39">
                  <c:v>0.69</c:v>
                </c:pt>
                <c:pt idx="40">
                  <c:v>0.99</c:v>
                </c:pt>
                <c:pt idx="41">
                  <c:v>0.84</c:v>
                </c:pt>
                <c:pt idx="42">
                  <c:v>0.91</c:v>
                </c:pt>
                <c:pt idx="43">
                  <c:v>0.8</c:v>
                </c:pt>
                <c:pt idx="44">
                  <c:v>0.95</c:v>
                </c:pt>
                <c:pt idx="45">
                  <c:v>0.83</c:v>
                </c:pt>
                <c:pt idx="46">
                  <c:v>0.83</c:v>
                </c:pt>
                <c:pt idx="47">
                  <c:v>0.59</c:v>
                </c:pt>
                <c:pt idx="48">
                  <c:v>0.84</c:v>
                </c:pt>
                <c:pt idx="49">
                  <c:v>0.32</c:v>
                </c:pt>
                <c:pt idx="50">
                  <c:v>0.77</c:v>
                </c:pt>
                <c:pt idx="51">
                  <c:v>0.54</c:v>
                </c:pt>
                <c:pt idx="52">
                  <c:v>0.9</c:v>
                </c:pt>
                <c:pt idx="53">
                  <c:v>0.83</c:v>
                </c:pt>
                <c:pt idx="54">
                  <c:v>0.9</c:v>
                </c:pt>
                <c:pt idx="55">
                  <c:v>0.95</c:v>
                </c:pt>
                <c:pt idx="56">
                  <c:v>0.95</c:v>
                </c:pt>
                <c:pt idx="57">
                  <c:v>0.68</c:v>
                </c:pt>
                <c:pt idx="58">
                  <c:v>0.69</c:v>
                </c:pt>
                <c:pt idx="59">
                  <c:v>0.94</c:v>
                </c:pt>
                <c:pt idx="60">
                  <c:v>0.85</c:v>
                </c:pt>
                <c:pt idx="61">
                  <c:v>0.89</c:v>
                </c:pt>
                <c:pt idx="62">
                  <c:v>0.84</c:v>
                </c:pt>
                <c:pt idx="63">
                  <c:v>0.7</c:v>
                </c:pt>
                <c:pt idx="64">
                  <c:v>0.84</c:v>
                </c:pt>
                <c:pt idx="65">
                  <c:v>0.54</c:v>
                </c:pt>
                <c:pt idx="66">
                  <c:v>0.8</c:v>
                </c:pt>
                <c:pt idx="67">
                  <c:v>0.47</c:v>
                </c:pt>
                <c:pt idx="68">
                  <c:v>0.65</c:v>
                </c:pt>
                <c:pt idx="69">
                  <c:v>0.31</c:v>
                </c:pt>
                <c:pt idx="70">
                  <c:v>0.52</c:v>
                </c:pt>
                <c:pt idx="71">
                  <c:v>0.6</c:v>
                </c:pt>
                <c:pt idx="72">
                  <c:v>0.44</c:v>
                </c:pt>
                <c:pt idx="73">
                  <c:v>0.7</c:v>
                </c:pt>
                <c:pt idx="74">
                  <c:v>0.54</c:v>
                </c:pt>
                <c:pt idx="75">
                  <c:v>0.77</c:v>
                </c:pt>
                <c:pt idx="76">
                  <c:v>0.31</c:v>
                </c:pt>
                <c:pt idx="77">
                  <c:v>0.83</c:v>
                </c:pt>
                <c:pt idx="78">
                  <c:v>0.33</c:v>
                </c:pt>
                <c:pt idx="79">
                  <c:v>0.97</c:v>
                </c:pt>
                <c:pt idx="80">
                  <c:v>0.81</c:v>
                </c:pt>
                <c:pt idx="81">
                  <c:v>0.4</c:v>
                </c:pt>
                <c:pt idx="82">
                  <c:v>0.78</c:v>
                </c:pt>
                <c:pt idx="83">
                  <c:v>0.43</c:v>
                </c:pt>
                <c:pt idx="84">
                  <c:v>0.23</c:v>
                </c:pt>
                <c:pt idx="85">
                  <c:v>0.77</c:v>
                </c:pt>
                <c:pt idx="86">
                  <c:v>0.31</c:v>
                </c:pt>
                <c:pt idx="87">
                  <c:v>0.54</c:v>
                </c:pt>
                <c:pt idx="88">
                  <c:v>0.77</c:v>
                </c:pt>
                <c:pt idx="89">
                  <c:v>0.17</c:v>
                </c:pt>
                <c:pt idx="90">
                  <c:v>0.34</c:v>
                </c:pt>
                <c:pt idx="91">
                  <c:v>0.6</c:v>
                </c:pt>
                <c:pt idx="92">
                  <c:v>0.24</c:v>
                </c:pt>
                <c:pt idx="93">
                  <c:v>0.73</c:v>
                </c:pt>
                <c:pt idx="94">
                  <c:v>0.67</c:v>
                </c:pt>
                <c:pt idx="95">
                  <c:v>0.56999999999999995</c:v>
                </c:pt>
                <c:pt idx="96">
                  <c:v>0.59</c:v>
                </c:pt>
                <c:pt idx="97">
                  <c:v>0.84</c:v>
                </c:pt>
                <c:pt idx="98">
                  <c:v>0.14000000000000001</c:v>
                </c:pt>
                <c:pt idx="99">
                  <c:v>0.78</c:v>
                </c:pt>
                <c:pt idx="100">
                  <c:v>0.64</c:v>
                </c:pt>
                <c:pt idx="101">
                  <c:v>0.88</c:v>
                </c:pt>
                <c:pt idx="102">
                  <c:v>0.61</c:v>
                </c:pt>
                <c:pt idx="103">
                  <c:v>0.28000000000000003</c:v>
                </c:pt>
                <c:pt idx="104">
                  <c:v>0.65</c:v>
                </c:pt>
                <c:pt idx="105">
                  <c:v>0.4</c:v>
                </c:pt>
                <c:pt idx="106">
                  <c:v>0.48</c:v>
                </c:pt>
                <c:pt idx="107">
                  <c:v>0.67</c:v>
                </c:pt>
                <c:pt idx="108">
                  <c:v>0.62</c:v>
                </c:pt>
                <c:pt idx="109">
                  <c:v>0.61</c:v>
                </c:pt>
                <c:pt idx="110">
                  <c:v>0.19</c:v>
                </c:pt>
                <c:pt idx="111">
                  <c:v>0.28999999999999998</c:v>
                </c:pt>
                <c:pt idx="112">
                  <c:v>0.26</c:v>
                </c:pt>
                <c:pt idx="113">
                  <c:v>0.61</c:v>
                </c:pt>
                <c:pt idx="114">
                  <c:v>0.48</c:v>
                </c:pt>
                <c:pt idx="115">
                  <c:v>0.15</c:v>
                </c:pt>
                <c:pt idx="116">
                  <c:v>0.14000000000000001</c:v>
                </c:pt>
                <c:pt idx="117">
                  <c:v>0.05</c:v>
                </c:pt>
                <c:pt idx="118">
                  <c:v>0.05</c:v>
                </c:pt>
                <c:pt idx="119">
                  <c:v>0.04</c:v>
                </c:pt>
                <c:pt idx="120">
                  <c:v>0.04</c:v>
                </c:pt>
                <c:pt idx="121">
                  <c:v>0.05</c:v>
                </c:pt>
                <c:pt idx="122">
                  <c:v>0.03</c:v>
                </c:pt>
                <c:pt idx="123">
                  <c:v>0.04</c:v>
                </c:pt>
                <c:pt idx="124">
                  <c:v>0.36</c:v>
                </c:pt>
                <c:pt idx="125">
                  <c:v>0.05</c:v>
                </c:pt>
                <c:pt idx="126">
                  <c:v>0.04</c:v>
                </c:pt>
                <c:pt idx="127">
                  <c:v>0.03</c:v>
                </c:pt>
                <c:pt idx="128">
                  <c:v>0.04</c:v>
                </c:pt>
                <c:pt idx="129">
                  <c:v>0.02</c:v>
                </c:pt>
                <c:pt idx="130">
                  <c:v>0.01</c:v>
                </c:pt>
                <c:pt idx="131">
                  <c:v>0.01</c:v>
                </c:pt>
                <c:pt idx="132">
                  <c:v>0.01</c:v>
                </c:pt>
                <c:pt idx="133">
                  <c:v>0.01</c:v>
                </c:pt>
                <c:pt idx="134">
                  <c:v>0.01</c:v>
                </c:pt>
                <c:pt idx="135">
                  <c:v>0.02</c:v>
                </c:pt>
                <c:pt idx="136">
                  <c:v>0.01</c:v>
                </c:pt>
                <c:pt idx="137">
                  <c:v>0.01</c:v>
                </c:pt>
                <c:pt idx="13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0</c:f>
              <c:strCache>
                <c:ptCount val="139"/>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pt idx="22">
                  <c:v>Gillette</c:v>
                </c:pt>
                <c:pt idx="23">
                  <c:v>Harry's</c:v>
                </c:pt>
                <c:pt idx="24">
                  <c:v>Schick</c:v>
                </c:pt>
                <c:pt idx="25">
                  <c:v>Gillette</c:v>
                </c:pt>
                <c:pt idx="26">
                  <c:v>Harry's</c:v>
                </c:pt>
                <c:pt idx="27">
                  <c:v>Gillette</c:v>
                </c:pt>
                <c:pt idx="28">
                  <c:v>Gillette</c:v>
                </c:pt>
                <c:pt idx="29">
                  <c:v>Gillette</c:v>
                </c:pt>
                <c:pt idx="30">
                  <c:v>Gillette</c:v>
                </c:pt>
                <c:pt idx="31">
                  <c:v>Schick</c:v>
                </c:pt>
                <c:pt idx="32">
                  <c:v>Gillette</c:v>
                </c:pt>
                <c:pt idx="33">
                  <c:v>Gillette</c:v>
                </c:pt>
                <c:pt idx="34">
                  <c:v>Schick</c:v>
                </c:pt>
                <c:pt idx="35">
                  <c:v>Bic</c:v>
                </c:pt>
                <c:pt idx="36">
                  <c:v>Gillette</c:v>
                </c:pt>
                <c:pt idx="37">
                  <c:v>Gillette</c:v>
                </c:pt>
                <c:pt idx="38">
                  <c:v>Bic</c:v>
                </c:pt>
                <c:pt idx="39">
                  <c:v>Gillette</c:v>
                </c:pt>
                <c:pt idx="40">
                  <c:v>Equate</c:v>
                </c:pt>
                <c:pt idx="41">
                  <c:v>Gillette</c:v>
                </c:pt>
                <c:pt idx="42">
                  <c:v>Gillette</c:v>
                </c:pt>
                <c:pt idx="43">
                  <c:v>Harry's</c:v>
                </c:pt>
                <c:pt idx="44">
                  <c:v>Schick</c:v>
                </c:pt>
                <c:pt idx="45">
                  <c:v>Schick</c:v>
                </c:pt>
                <c:pt idx="46">
                  <c:v>Equate</c:v>
                </c:pt>
                <c:pt idx="47">
                  <c:v>Bic</c:v>
                </c:pt>
                <c:pt idx="48">
                  <c:v>Dollar Shav</c:v>
                </c:pt>
                <c:pt idx="49">
                  <c:v>Gillette</c:v>
                </c:pt>
                <c:pt idx="50">
                  <c:v>Bic</c:v>
                </c:pt>
                <c:pt idx="51">
                  <c:v>Gillette</c:v>
                </c:pt>
                <c:pt idx="52">
                  <c:v>Equate</c:v>
                </c:pt>
                <c:pt idx="53">
                  <c:v>Dollar Shav</c:v>
                </c:pt>
                <c:pt idx="54">
                  <c:v>Bic</c:v>
                </c:pt>
                <c:pt idx="55">
                  <c:v>Bic</c:v>
                </c:pt>
                <c:pt idx="56">
                  <c:v>Equate</c:v>
                </c:pt>
                <c:pt idx="57">
                  <c:v>Schick</c:v>
                </c:pt>
                <c:pt idx="58">
                  <c:v>Gillette</c:v>
                </c:pt>
                <c:pt idx="59">
                  <c:v>Equate</c:v>
                </c:pt>
                <c:pt idx="60">
                  <c:v>Bic</c:v>
                </c:pt>
                <c:pt idx="61">
                  <c:v>Bic</c:v>
                </c:pt>
                <c:pt idx="62">
                  <c:v>Bic</c:v>
                </c:pt>
                <c:pt idx="63">
                  <c:v>Gillette</c:v>
                </c:pt>
                <c:pt idx="64">
                  <c:v>Comfort 3</c:v>
                </c:pt>
                <c:pt idx="65">
                  <c:v>Van Der Hag</c:v>
                </c:pt>
                <c:pt idx="66">
                  <c:v>Van Der Hag</c:v>
                </c:pt>
                <c:pt idx="67">
                  <c:v>Dollar Shav</c:v>
                </c:pt>
                <c:pt idx="68">
                  <c:v>Comfort 3</c:v>
                </c:pt>
                <c:pt idx="69">
                  <c:v>Schick</c:v>
                </c:pt>
                <c:pt idx="70">
                  <c:v>Gillette</c:v>
                </c:pt>
                <c:pt idx="71">
                  <c:v>Gillette</c:v>
                </c:pt>
                <c:pt idx="72">
                  <c:v>Gillette</c:v>
                </c:pt>
                <c:pt idx="73">
                  <c:v>Equate</c:v>
                </c:pt>
                <c:pt idx="74">
                  <c:v>Equate</c:v>
                </c:pt>
                <c:pt idx="75">
                  <c:v>Bic</c:v>
                </c:pt>
                <c:pt idx="76">
                  <c:v>Gillette</c:v>
                </c:pt>
                <c:pt idx="77">
                  <c:v>Bic</c:v>
                </c:pt>
                <c:pt idx="78">
                  <c:v>Gillette</c:v>
                </c:pt>
                <c:pt idx="79">
                  <c:v>Equate</c:v>
                </c:pt>
                <c:pt idx="80">
                  <c:v>Bic</c:v>
                </c:pt>
                <c:pt idx="81">
                  <c:v>Gillette</c:v>
                </c:pt>
                <c:pt idx="82">
                  <c:v>Gillette</c:v>
                </c:pt>
                <c:pt idx="83">
                  <c:v>Gillette</c:v>
                </c:pt>
                <c:pt idx="84">
                  <c:v>Gillette</c:v>
                </c:pt>
                <c:pt idx="85">
                  <c:v>Bic</c:v>
                </c:pt>
                <c:pt idx="86">
                  <c:v>Harry's</c:v>
                </c:pt>
                <c:pt idx="87">
                  <c:v>Gillette</c:v>
                </c:pt>
                <c:pt idx="88">
                  <c:v>Gillette</c:v>
                </c:pt>
                <c:pt idx="89">
                  <c:v>Gillette</c:v>
                </c:pt>
                <c:pt idx="90">
                  <c:v>Gillette</c:v>
                </c:pt>
                <c:pt idx="91">
                  <c:v>Gillette</c:v>
                </c:pt>
                <c:pt idx="92">
                  <c:v>Gillette</c:v>
                </c:pt>
                <c:pt idx="93">
                  <c:v>Bic</c:v>
                </c:pt>
                <c:pt idx="94">
                  <c:v>Equate</c:v>
                </c:pt>
                <c:pt idx="95">
                  <c:v>Harry's</c:v>
                </c:pt>
                <c:pt idx="96">
                  <c:v>Gillette</c:v>
                </c:pt>
                <c:pt idx="97">
                  <c:v>Schick</c:v>
                </c:pt>
                <c:pt idx="98">
                  <c:v>Harry's</c:v>
                </c:pt>
                <c:pt idx="99">
                  <c:v>Bic</c:v>
                </c:pt>
                <c:pt idx="100">
                  <c:v>Schick</c:v>
                </c:pt>
                <c:pt idx="101">
                  <c:v>Schick</c:v>
                </c:pt>
                <c:pt idx="102">
                  <c:v>Gillette</c:v>
                </c:pt>
                <c:pt idx="103">
                  <c:v>Gillette</c:v>
                </c:pt>
                <c:pt idx="104">
                  <c:v>Gillette</c:v>
                </c:pt>
                <c:pt idx="105">
                  <c:v>Gillette</c:v>
                </c:pt>
                <c:pt idx="106">
                  <c:v>Bic</c:v>
                </c:pt>
                <c:pt idx="107">
                  <c:v>Bic</c:v>
                </c:pt>
                <c:pt idx="108">
                  <c:v>Dollar Shav</c:v>
                </c:pt>
                <c:pt idx="109">
                  <c:v>Bic</c:v>
                </c:pt>
                <c:pt idx="110">
                  <c:v>Gillette</c:v>
                </c:pt>
                <c:pt idx="111">
                  <c:v>Gillette</c:v>
                </c:pt>
                <c:pt idx="112">
                  <c:v>Gillette</c:v>
                </c:pt>
                <c:pt idx="113">
                  <c:v>Harry's</c:v>
                </c:pt>
                <c:pt idx="114">
                  <c:v>Harry's</c:v>
                </c:pt>
                <c:pt idx="115">
                  <c:v>Gillette</c:v>
                </c:pt>
                <c:pt idx="116">
                  <c:v>Gillette</c:v>
                </c:pt>
                <c:pt idx="117">
                  <c:v>Gillette</c:v>
                </c:pt>
                <c:pt idx="118">
                  <c:v>Schick</c:v>
                </c:pt>
                <c:pt idx="119">
                  <c:v>Schick</c:v>
                </c:pt>
                <c:pt idx="120">
                  <c:v>Schick</c:v>
                </c:pt>
                <c:pt idx="121">
                  <c:v>Gillette</c:v>
                </c:pt>
                <c:pt idx="122">
                  <c:v>Bic</c:v>
                </c:pt>
                <c:pt idx="123">
                  <c:v>Schick</c:v>
                </c:pt>
                <c:pt idx="124">
                  <c:v>Gillette</c:v>
                </c:pt>
                <c:pt idx="125">
                  <c:v>Cremo</c:v>
                </c:pt>
                <c:pt idx="126">
                  <c:v>Bic</c:v>
                </c:pt>
                <c:pt idx="127">
                  <c:v>Bic</c:v>
                </c:pt>
                <c:pt idx="128">
                  <c:v>Cremo</c:v>
                </c:pt>
                <c:pt idx="129">
                  <c:v>Bic</c:v>
                </c:pt>
                <c:pt idx="130">
                  <c:v>Harry's</c:v>
                </c:pt>
                <c:pt idx="131">
                  <c:v>Comfort 3</c:v>
                </c:pt>
                <c:pt idx="132">
                  <c:v>Schick</c:v>
                </c:pt>
                <c:pt idx="133">
                  <c:v>Bic</c:v>
                </c:pt>
                <c:pt idx="134">
                  <c:v>Harry's</c:v>
                </c:pt>
                <c:pt idx="135">
                  <c:v>Bic</c:v>
                </c:pt>
                <c:pt idx="136">
                  <c:v>Schick</c:v>
                </c:pt>
                <c:pt idx="137">
                  <c:v>Dollar Shav</c:v>
                </c:pt>
                <c:pt idx="138">
                  <c:v>Dollar Shav</c:v>
                </c:pt>
              </c:strCache>
            </c:strRef>
          </c:cat>
          <c:val>
            <c:numRef>
              <c:f>Sheet1!$C$2:$C$140</c:f>
              <c:numCache>
                <c:formatCode>General</c:formatCode>
                <c:ptCount val="139"/>
                <c:pt idx="0">
                  <c:v>5.3648963777222558E-2</c:v>
                </c:pt>
                <c:pt idx="1">
                  <c:v>9.4734225668362509E-2</c:v>
                </c:pt>
                <c:pt idx="2">
                  <c:v>0.12766184673401992</c:v>
                </c:pt>
                <c:pt idx="3">
                  <c:v>0.1588765927617051</c:v>
                </c:pt>
                <c:pt idx="4">
                  <c:v>0.18911038778213141</c:v>
                </c:pt>
                <c:pt idx="5">
                  <c:v>0.21708926680348797</c:v>
                </c:pt>
                <c:pt idx="6">
                  <c:v>0.24176312728542615</c:v>
                </c:pt>
                <c:pt idx="7">
                  <c:v>0.26513480359713648</c:v>
                </c:pt>
                <c:pt idx="8">
                  <c:v>0.288306211017896</c:v>
                </c:pt>
                <c:pt idx="9">
                  <c:v>0.31118643724610373</c:v>
                </c:pt>
                <c:pt idx="10">
                  <c:v>0.33212896595097202</c:v>
                </c:pt>
                <c:pt idx="11">
                  <c:v>0.35170856652217475</c:v>
                </c:pt>
                <c:pt idx="12">
                  <c:v>0.37067243625709428</c:v>
                </c:pt>
                <c:pt idx="13">
                  <c:v>0.38832379418432406</c:v>
                </c:pt>
                <c:pt idx="14">
                  <c:v>0.40569627680814674</c:v>
                </c:pt>
                <c:pt idx="15">
                  <c:v>0.42220179063196583</c:v>
                </c:pt>
                <c:pt idx="16">
                  <c:v>0.436844024106044</c:v>
                </c:pt>
                <c:pt idx="17">
                  <c:v>0.45075430445747228</c:v>
                </c:pt>
                <c:pt idx="18">
                  <c:v>0.46461809589435388</c:v>
                </c:pt>
                <c:pt idx="19">
                  <c:v>0.47776177462674607</c:v>
                </c:pt>
                <c:pt idx="20">
                  <c:v>0.49083947284712831</c:v>
                </c:pt>
                <c:pt idx="21">
                  <c:v>0.50385130692324664</c:v>
                </c:pt>
                <c:pt idx="22">
                  <c:v>0.51665935198409618</c:v>
                </c:pt>
                <c:pt idx="23">
                  <c:v>0.52909458387854036</c:v>
                </c:pt>
                <c:pt idx="24">
                  <c:v>0.54105043884313464</c:v>
                </c:pt>
                <c:pt idx="25">
                  <c:v>0.55284832459246702</c:v>
                </c:pt>
                <c:pt idx="26">
                  <c:v>0.56450179796895228</c:v>
                </c:pt>
                <c:pt idx="27">
                  <c:v>0.57587764699530042</c:v>
                </c:pt>
                <c:pt idx="28">
                  <c:v>0.58692272070350349</c:v>
                </c:pt>
                <c:pt idx="29">
                  <c:v>0.59772700045319416</c:v>
                </c:pt>
                <c:pt idx="30">
                  <c:v>0.60827596936805273</c:v>
                </c:pt>
                <c:pt idx="31">
                  <c:v>0.61875610676112314</c:v>
                </c:pt>
                <c:pt idx="32">
                  <c:v>0.62916188516446803</c:v>
                </c:pt>
                <c:pt idx="33">
                  <c:v>0.63956344523701869</c:v>
                </c:pt>
                <c:pt idx="34">
                  <c:v>0.64955070704169737</c:v>
                </c:pt>
                <c:pt idx="35">
                  <c:v>0.6593558824157455</c:v>
                </c:pt>
                <c:pt idx="36">
                  <c:v>0.66899372097097476</c:v>
                </c:pt>
                <c:pt idx="37">
                  <c:v>0.67842166120426761</c:v>
                </c:pt>
                <c:pt idx="38">
                  <c:v>0.68784564493419487</c:v>
                </c:pt>
                <c:pt idx="39">
                  <c:v>0.69694932644312146</c:v>
                </c:pt>
                <c:pt idx="40">
                  <c:v>0.7060156539055662</c:v>
                </c:pt>
                <c:pt idx="41">
                  <c:v>0.71483100523171916</c:v>
                </c:pt>
                <c:pt idx="42">
                  <c:v>0.72355320417715974</c:v>
                </c:pt>
                <c:pt idx="43">
                  <c:v>0.73194378413829642</c:v>
                </c:pt>
                <c:pt idx="44">
                  <c:v>0.74032584016203495</c:v>
                </c:pt>
                <c:pt idx="45">
                  <c:v>0.74862021308912541</c:v>
                </c:pt>
                <c:pt idx="46">
                  <c:v>0.75688165394408391</c:v>
                </c:pt>
                <c:pt idx="47">
                  <c:v>0.764838764051187</c:v>
                </c:pt>
                <c:pt idx="48">
                  <c:v>0.77272273702989813</c:v>
                </c:pt>
                <c:pt idx="49">
                  <c:v>0.7804800146250982</c:v>
                </c:pt>
                <c:pt idx="50">
                  <c:v>0.78820465106753135</c:v>
                </c:pt>
                <c:pt idx="51">
                  <c:v>0.7957817622999106</c:v>
                </c:pt>
                <c:pt idx="52">
                  <c:v>0.80325478258344873</c:v>
                </c:pt>
                <c:pt idx="53">
                  <c:v>0.81033721452737251</c:v>
                </c:pt>
                <c:pt idx="54">
                  <c:v>0.81736038619662066</c:v>
                </c:pt>
                <c:pt idx="55">
                  <c:v>0.82425113137086481</c:v>
                </c:pt>
                <c:pt idx="56">
                  <c:v>0.83113547631907625</c:v>
                </c:pt>
                <c:pt idx="57">
                  <c:v>0.83780852653239868</c:v>
                </c:pt>
                <c:pt idx="58">
                  <c:v>0.84431933101579193</c:v>
                </c:pt>
                <c:pt idx="59">
                  <c:v>0.85082798269588322</c:v>
                </c:pt>
                <c:pt idx="60">
                  <c:v>0.85724098008872207</c:v>
                </c:pt>
                <c:pt idx="61">
                  <c:v>0.86349856835671213</c:v>
                </c:pt>
                <c:pt idx="62">
                  <c:v>0.86937598319835918</c:v>
                </c:pt>
                <c:pt idx="63">
                  <c:v>0.87524798693981498</c:v>
                </c:pt>
                <c:pt idx="64">
                  <c:v>0.88109657167237831</c:v>
                </c:pt>
                <c:pt idx="65">
                  <c:v>0.88631691603595819</c:v>
                </c:pt>
                <c:pt idx="66">
                  <c:v>0.89144995549806461</c:v>
                </c:pt>
                <c:pt idx="67">
                  <c:v>0.89642991319024312</c:v>
                </c:pt>
                <c:pt idx="68">
                  <c:v>0.90121914414664694</c:v>
                </c:pt>
                <c:pt idx="69">
                  <c:v>0.90597678125999836</c:v>
                </c:pt>
                <c:pt idx="70">
                  <c:v>0.91070096264636069</c:v>
                </c:pt>
                <c:pt idx="71">
                  <c:v>0.91535639978674432</c:v>
                </c:pt>
                <c:pt idx="72">
                  <c:v>0.91989174541320518</c:v>
                </c:pt>
                <c:pt idx="73">
                  <c:v>0.92435671764524274</c:v>
                </c:pt>
                <c:pt idx="74">
                  <c:v>0.92848000508294304</c:v>
                </c:pt>
                <c:pt idx="75">
                  <c:v>0.93225029096300294</c:v>
                </c:pt>
                <c:pt idx="76">
                  <c:v>0.93597824807543739</c:v>
                </c:pt>
                <c:pt idx="77">
                  <c:v>0.93967062574951732</c:v>
                </c:pt>
                <c:pt idx="78">
                  <c:v>0.94330682689419187</c:v>
                </c:pt>
                <c:pt idx="79">
                  <c:v>0.94688743334819148</c:v>
                </c:pt>
                <c:pt idx="80">
                  <c:v>0.9504220745425016</c:v>
                </c:pt>
                <c:pt idx="81">
                  <c:v>0.95333702839716283</c:v>
                </c:pt>
                <c:pt idx="82">
                  <c:v>0.95608132895224285</c:v>
                </c:pt>
                <c:pt idx="83">
                  <c:v>0.95877867512179193</c:v>
                </c:pt>
                <c:pt idx="84">
                  <c:v>0.96108799304213977</c:v>
                </c:pt>
                <c:pt idx="85">
                  <c:v>0.96331532988539581</c:v>
                </c:pt>
                <c:pt idx="86">
                  <c:v>0.9655338809638252</c:v>
                </c:pt>
                <c:pt idx="87">
                  <c:v>0.96772139094599596</c:v>
                </c:pt>
                <c:pt idx="88">
                  <c:v>0.96981315936510459</c:v>
                </c:pt>
                <c:pt idx="89">
                  <c:v>0.97166960310976513</c:v>
                </c:pt>
                <c:pt idx="90">
                  <c:v>0.97334154579306453</c:v>
                </c:pt>
                <c:pt idx="91">
                  <c:v>0.97499658606125028</c:v>
                </c:pt>
                <c:pt idx="92">
                  <c:v>0.97653127298808462</c:v>
                </c:pt>
                <c:pt idx="93">
                  <c:v>0.97802822767326247</c:v>
                </c:pt>
                <c:pt idx="94">
                  <c:v>0.97948046805202083</c:v>
                </c:pt>
                <c:pt idx="95">
                  <c:v>0.98086696065426138</c:v>
                </c:pt>
                <c:pt idx="96">
                  <c:v>0.98225275505002563</c:v>
                </c:pt>
                <c:pt idx="97">
                  <c:v>0.98348945327116422</c:v>
                </c:pt>
                <c:pt idx="98">
                  <c:v>0.98464163941673455</c:v>
                </c:pt>
                <c:pt idx="99">
                  <c:v>0.98571455003530883</c:v>
                </c:pt>
                <c:pt idx="100">
                  <c:v>0.98678449327635887</c:v>
                </c:pt>
                <c:pt idx="101">
                  <c:v>0.98784250882343883</c:v>
                </c:pt>
                <c:pt idx="102">
                  <c:v>0.98889895340594713</c:v>
                </c:pt>
                <c:pt idx="103">
                  <c:v>0.98993386995543631</c:v>
                </c:pt>
                <c:pt idx="104">
                  <c:v>0.99095418235279631</c:v>
                </c:pt>
                <c:pt idx="105">
                  <c:v>0.99195802871409033</c:v>
                </c:pt>
                <c:pt idx="106">
                  <c:v>0.99280314946977322</c:v>
                </c:pt>
                <c:pt idx="107">
                  <c:v>0.99363008776513584</c:v>
                </c:pt>
                <c:pt idx="108">
                  <c:v>0.99441795558976243</c:v>
                </c:pt>
                <c:pt idx="109">
                  <c:v>0.9950729314484007</c:v>
                </c:pt>
                <c:pt idx="110">
                  <c:v>0.99567929468112693</c:v>
                </c:pt>
                <c:pt idx="111">
                  <c:v>0.99625394770305475</c:v>
                </c:pt>
                <c:pt idx="112">
                  <c:v>0.99681868037463184</c:v>
                </c:pt>
                <c:pt idx="113">
                  <c:v>0.99734370255286964</c:v>
                </c:pt>
                <c:pt idx="114">
                  <c:v>0.99782121759878284</c:v>
                </c:pt>
                <c:pt idx="115">
                  <c:v>0.99825174916722859</c:v>
                </c:pt>
                <c:pt idx="116">
                  <c:v>0.99859413216804205</c:v>
                </c:pt>
                <c:pt idx="117">
                  <c:v>0.99880027763016832</c:v>
                </c:pt>
                <c:pt idx="118">
                  <c:v>0.99894562094498385</c:v>
                </c:pt>
                <c:pt idx="119">
                  <c:v>0.99907301453497133</c:v>
                </c:pt>
                <c:pt idx="120">
                  <c:v>0.9991958697828629</c:v>
                </c:pt>
                <c:pt idx="121">
                  <c:v>0.99930243354630754</c:v>
                </c:pt>
                <c:pt idx="122">
                  <c:v>0.99940847365489494</c:v>
                </c:pt>
                <c:pt idx="123">
                  <c:v>0.99951017906494199</c:v>
                </c:pt>
                <c:pt idx="124">
                  <c:v>0.99958325800946091</c:v>
                </c:pt>
                <c:pt idx="125">
                  <c:v>0.99965200225543949</c:v>
                </c:pt>
                <c:pt idx="126">
                  <c:v>0.99971911735297336</c:v>
                </c:pt>
                <c:pt idx="127">
                  <c:v>0.99976260979805931</c:v>
                </c:pt>
                <c:pt idx="128">
                  <c:v>0.99979757830574711</c:v>
                </c:pt>
                <c:pt idx="129">
                  <c:v>0.99983068492949811</c:v>
                </c:pt>
                <c:pt idx="130">
                  <c:v>0.99984590001229401</c:v>
                </c:pt>
                <c:pt idx="131">
                  <c:v>0.99986062053216929</c:v>
                </c:pt>
                <c:pt idx="132">
                  <c:v>0.99987359553585375</c:v>
                </c:pt>
                <c:pt idx="133">
                  <c:v>0.99990562575795383</c:v>
                </c:pt>
                <c:pt idx="134">
                  <c:v>0.9999146442582727</c:v>
                </c:pt>
                <c:pt idx="135">
                  <c:v>0.99992241180532149</c:v>
                </c:pt>
                <c:pt idx="136">
                  <c:v>0.99993553226868859</c:v>
                </c:pt>
                <c:pt idx="137">
                  <c:v>0.99995159101764342</c:v>
                </c:pt>
                <c:pt idx="138">
                  <c:v>0.9999626168615816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8</c:f>
              <c:strCache>
                <c:ptCount val="107"/>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pt idx="19">
                  <c:v>Harry's</c:v>
                </c:pt>
                <c:pt idx="20">
                  <c:v>Schick</c:v>
                </c:pt>
                <c:pt idx="21">
                  <c:v>Bic</c:v>
                </c:pt>
                <c:pt idx="22">
                  <c:v>Bic</c:v>
                </c:pt>
                <c:pt idx="23">
                  <c:v>Schick</c:v>
                </c:pt>
                <c:pt idx="24">
                  <c:v>Bic</c:v>
                </c:pt>
                <c:pt idx="25">
                  <c:v>Schick</c:v>
                </c:pt>
                <c:pt idx="26">
                  <c:v>Gillette</c:v>
                </c:pt>
                <c:pt idx="27">
                  <c:v>Equate</c:v>
                </c:pt>
                <c:pt idx="28">
                  <c:v>Gillette</c:v>
                </c:pt>
                <c:pt idx="29">
                  <c:v>Harry's</c:v>
                </c:pt>
                <c:pt idx="30">
                  <c:v>Dollar Shav</c:v>
                </c:pt>
                <c:pt idx="31">
                  <c:v>Bic</c:v>
                </c:pt>
                <c:pt idx="32">
                  <c:v>Equate</c:v>
                </c:pt>
                <c:pt idx="33">
                  <c:v>Dollar Shav</c:v>
                </c:pt>
                <c:pt idx="34">
                  <c:v>Schick</c:v>
                </c:pt>
                <c:pt idx="35">
                  <c:v>Schick</c:v>
                </c:pt>
                <c:pt idx="36">
                  <c:v>Gillette</c:v>
                </c:pt>
                <c:pt idx="37">
                  <c:v>Harry's</c:v>
                </c:pt>
                <c:pt idx="38">
                  <c:v>Harry's</c:v>
                </c:pt>
                <c:pt idx="39">
                  <c:v>Gillette</c:v>
                </c:pt>
                <c:pt idx="40">
                  <c:v>Gillette</c:v>
                </c:pt>
                <c:pt idx="41">
                  <c:v>Gillette</c:v>
                </c:pt>
                <c:pt idx="42">
                  <c:v>Bic</c:v>
                </c:pt>
                <c:pt idx="43">
                  <c:v>Gillette</c:v>
                </c:pt>
                <c:pt idx="44">
                  <c:v>Bic</c:v>
                </c:pt>
                <c:pt idx="45">
                  <c:v>Gillette</c:v>
                </c:pt>
                <c:pt idx="46">
                  <c:v>Gillette</c:v>
                </c:pt>
                <c:pt idx="47">
                  <c:v>Bic</c:v>
                </c:pt>
                <c:pt idx="48">
                  <c:v>Equate</c:v>
                </c:pt>
                <c:pt idx="49">
                  <c:v>Comfort 3</c:v>
                </c:pt>
                <c:pt idx="50">
                  <c:v>Gillette</c:v>
                </c:pt>
                <c:pt idx="51">
                  <c:v>Equate</c:v>
                </c:pt>
                <c:pt idx="52">
                  <c:v>Equate</c:v>
                </c:pt>
                <c:pt idx="53">
                  <c:v>Gillette</c:v>
                </c:pt>
                <c:pt idx="54">
                  <c:v>Gillette</c:v>
                </c:pt>
                <c:pt idx="55">
                  <c:v>Equate</c:v>
                </c:pt>
                <c:pt idx="56">
                  <c:v>Gillette</c:v>
                </c:pt>
                <c:pt idx="57">
                  <c:v>Gillette</c:v>
                </c:pt>
                <c:pt idx="58">
                  <c:v>Bic</c:v>
                </c:pt>
                <c:pt idx="59">
                  <c:v>Equate</c:v>
                </c:pt>
                <c:pt idx="60">
                  <c:v>Gillette</c:v>
                </c:pt>
                <c:pt idx="61">
                  <c:v>Dollar Shav</c:v>
                </c:pt>
                <c:pt idx="62">
                  <c:v>Bic</c:v>
                </c:pt>
                <c:pt idx="63">
                  <c:v>Schick</c:v>
                </c:pt>
                <c:pt idx="64">
                  <c:v>Equate</c:v>
                </c:pt>
                <c:pt idx="65">
                  <c:v>Gillette</c:v>
                </c:pt>
                <c:pt idx="66">
                  <c:v>Gillette</c:v>
                </c:pt>
                <c:pt idx="67">
                  <c:v>Bic</c:v>
                </c:pt>
                <c:pt idx="68">
                  <c:v>Gillette</c:v>
                </c:pt>
                <c:pt idx="69">
                  <c:v>Gillette</c:v>
                </c:pt>
                <c:pt idx="70">
                  <c:v>Gillette</c:v>
                </c:pt>
                <c:pt idx="71">
                  <c:v>Gillette</c:v>
                </c:pt>
                <c:pt idx="72">
                  <c:v>Bic</c:v>
                </c:pt>
                <c:pt idx="73">
                  <c:v>Gillette</c:v>
                </c:pt>
                <c:pt idx="74">
                  <c:v>Gillette</c:v>
                </c:pt>
                <c:pt idx="75">
                  <c:v>Gillette</c:v>
                </c:pt>
                <c:pt idx="76">
                  <c:v>Equate</c:v>
                </c:pt>
                <c:pt idx="77">
                  <c:v>Gillette</c:v>
                </c:pt>
                <c:pt idx="78">
                  <c:v>Gillette</c:v>
                </c:pt>
                <c:pt idx="79">
                  <c:v>Gillette</c:v>
                </c:pt>
                <c:pt idx="80">
                  <c:v>Schick</c:v>
                </c:pt>
                <c:pt idx="81">
                  <c:v>Bic</c:v>
                </c:pt>
                <c:pt idx="82">
                  <c:v>Schick</c:v>
                </c:pt>
                <c:pt idx="83">
                  <c:v>Harry's</c:v>
                </c:pt>
                <c:pt idx="84">
                  <c:v>Bic</c:v>
                </c:pt>
                <c:pt idx="85">
                  <c:v>Gillette</c:v>
                </c:pt>
                <c:pt idx="86">
                  <c:v>Gillette</c:v>
                </c:pt>
                <c:pt idx="87">
                  <c:v>Dollar Shav</c:v>
                </c:pt>
                <c:pt idx="88">
                  <c:v>Bic</c:v>
                </c:pt>
                <c:pt idx="89">
                  <c:v>Bic</c:v>
                </c:pt>
                <c:pt idx="90">
                  <c:v>Bic</c:v>
                </c:pt>
                <c:pt idx="91">
                  <c:v>Bic</c:v>
                </c:pt>
                <c:pt idx="92">
                  <c:v>Gillette</c:v>
                </c:pt>
                <c:pt idx="93">
                  <c:v>Schick</c:v>
                </c:pt>
                <c:pt idx="94">
                  <c:v>Harry's</c:v>
                </c:pt>
                <c:pt idx="95">
                  <c:v>Harry's</c:v>
                </c:pt>
                <c:pt idx="96">
                  <c:v>Van Der Hag</c:v>
                </c:pt>
                <c:pt idx="97">
                  <c:v>Gillette</c:v>
                </c:pt>
                <c:pt idx="98">
                  <c:v>Van Der Hag</c:v>
                </c:pt>
                <c:pt idx="99">
                  <c:v>Bic</c:v>
                </c:pt>
                <c:pt idx="100">
                  <c:v>Gillette</c:v>
                </c:pt>
                <c:pt idx="101">
                  <c:v>Bic</c:v>
                </c:pt>
                <c:pt idx="102">
                  <c:v>Gillette</c:v>
                </c:pt>
                <c:pt idx="103">
                  <c:v>Equate</c:v>
                </c:pt>
                <c:pt idx="104">
                  <c:v>Bic</c:v>
                </c:pt>
                <c:pt idx="105">
                  <c:v>Schick</c:v>
                </c:pt>
                <c:pt idx="106">
                  <c:v>Harry's</c:v>
                </c:pt>
              </c:strCache>
            </c:strRef>
          </c:cat>
          <c:val>
            <c:numRef>
              <c:f>Sheet1!$B$2:$B$108</c:f>
              <c:numCache>
                <c:formatCode>General</c:formatCode>
                <c:ptCount val="107"/>
                <c:pt idx="0">
                  <c:v>0.93</c:v>
                </c:pt>
                <c:pt idx="1">
                  <c:v>0.95</c:v>
                </c:pt>
                <c:pt idx="2">
                  <c:v>0.91</c:v>
                </c:pt>
                <c:pt idx="3">
                  <c:v>0.76</c:v>
                </c:pt>
                <c:pt idx="4">
                  <c:v>0.55000000000000004</c:v>
                </c:pt>
                <c:pt idx="5">
                  <c:v>0.79</c:v>
                </c:pt>
                <c:pt idx="6">
                  <c:v>0.73</c:v>
                </c:pt>
                <c:pt idx="7">
                  <c:v>0.66</c:v>
                </c:pt>
                <c:pt idx="8">
                  <c:v>0.9</c:v>
                </c:pt>
                <c:pt idx="9">
                  <c:v>0.8</c:v>
                </c:pt>
                <c:pt idx="10">
                  <c:v>0.56999999999999995</c:v>
                </c:pt>
                <c:pt idx="11">
                  <c:v>0.91</c:v>
                </c:pt>
                <c:pt idx="12">
                  <c:v>0.57999999999999996</c:v>
                </c:pt>
                <c:pt idx="13">
                  <c:v>0.87</c:v>
                </c:pt>
                <c:pt idx="14">
                  <c:v>0.28000000000000003</c:v>
                </c:pt>
                <c:pt idx="15">
                  <c:v>0.56000000000000005</c:v>
                </c:pt>
                <c:pt idx="16">
                  <c:v>0.81</c:v>
                </c:pt>
                <c:pt idx="17">
                  <c:v>0.71</c:v>
                </c:pt>
                <c:pt idx="18">
                  <c:v>0.48</c:v>
                </c:pt>
                <c:pt idx="19">
                  <c:v>0.69</c:v>
                </c:pt>
                <c:pt idx="20">
                  <c:v>0.56000000000000005</c:v>
                </c:pt>
                <c:pt idx="21">
                  <c:v>0.94</c:v>
                </c:pt>
                <c:pt idx="22">
                  <c:v>0.78</c:v>
                </c:pt>
                <c:pt idx="23">
                  <c:v>0.77</c:v>
                </c:pt>
                <c:pt idx="24">
                  <c:v>0.51</c:v>
                </c:pt>
                <c:pt idx="25">
                  <c:v>0.65</c:v>
                </c:pt>
                <c:pt idx="26">
                  <c:v>0.45</c:v>
                </c:pt>
                <c:pt idx="27">
                  <c:v>0.65</c:v>
                </c:pt>
                <c:pt idx="28">
                  <c:v>0.73</c:v>
                </c:pt>
                <c:pt idx="29">
                  <c:v>0.42</c:v>
                </c:pt>
                <c:pt idx="30">
                  <c:v>0.68</c:v>
                </c:pt>
                <c:pt idx="31">
                  <c:v>0.85</c:v>
                </c:pt>
                <c:pt idx="32">
                  <c:v>0.95</c:v>
                </c:pt>
                <c:pt idx="33">
                  <c:v>0.61</c:v>
                </c:pt>
                <c:pt idx="34">
                  <c:v>0.61</c:v>
                </c:pt>
                <c:pt idx="35">
                  <c:v>0.81</c:v>
                </c:pt>
                <c:pt idx="36">
                  <c:v>0.51</c:v>
                </c:pt>
                <c:pt idx="37">
                  <c:v>0.37</c:v>
                </c:pt>
                <c:pt idx="38">
                  <c:v>0.49</c:v>
                </c:pt>
                <c:pt idx="39">
                  <c:v>0.31</c:v>
                </c:pt>
                <c:pt idx="40">
                  <c:v>0.42</c:v>
                </c:pt>
                <c:pt idx="41">
                  <c:v>0.56999999999999995</c:v>
                </c:pt>
                <c:pt idx="42">
                  <c:v>0.7</c:v>
                </c:pt>
                <c:pt idx="43">
                  <c:v>0.31</c:v>
                </c:pt>
                <c:pt idx="44">
                  <c:v>0.69</c:v>
                </c:pt>
                <c:pt idx="45">
                  <c:v>0.23</c:v>
                </c:pt>
                <c:pt idx="46">
                  <c:v>0.56999999999999995</c:v>
                </c:pt>
                <c:pt idx="47">
                  <c:v>0.62</c:v>
                </c:pt>
                <c:pt idx="48">
                  <c:v>0.82</c:v>
                </c:pt>
                <c:pt idx="49">
                  <c:v>0.69</c:v>
                </c:pt>
                <c:pt idx="50">
                  <c:v>0.45</c:v>
                </c:pt>
                <c:pt idx="51">
                  <c:v>0.65</c:v>
                </c:pt>
                <c:pt idx="52">
                  <c:v>0.74</c:v>
                </c:pt>
                <c:pt idx="53">
                  <c:v>0.26</c:v>
                </c:pt>
                <c:pt idx="54">
                  <c:v>0.42</c:v>
                </c:pt>
                <c:pt idx="55">
                  <c:v>0.53</c:v>
                </c:pt>
                <c:pt idx="56">
                  <c:v>0.21</c:v>
                </c:pt>
                <c:pt idx="57">
                  <c:v>0.14000000000000001</c:v>
                </c:pt>
                <c:pt idx="58">
                  <c:v>0.39</c:v>
                </c:pt>
                <c:pt idx="59">
                  <c:v>0.95</c:v>
                </c:pt>
                <c:pt idx="60">
                  <c:v>0.23</c:v>
                </c:pt>
                <c:pt idx="61">
                  <c:v>0.27</c:v>
                </c:pt>
                <c:pt idx="62">
                  <c:v>0.57999999999999996</c:v>
                </c:pt>
                <c:pt idx="63">
                  <c:v>0.3</c:v>
                </c:pt>
                <c:pt idx="64">
                  <c:v>0.4</c:v>
                </c:pt>
                <c:pt idx="65">
                  <c:v>0.32</c:v>
                </c:pt>
                <c:pt idx="66">
                  <c:v>0.28999999999999998</c:v>
                </c:pt>
                <c:pt idx="67">
                  <c:v>0.48</c:v>
                </c:pt>
                <c:pt idx="68">
                  <c:v>0.21</c:v>
                </c:pt>
                <c:pt idx="69">
                  <c:v>0.16</c:v>
                </c:pt>
                <c:pt idx="70">
                  <c:v>0.44</c:v>
                </c:pt>
                <c:pt idx="71">
                  <c:v>0.16</c:v>
                </c:pt>
                <c:pt idx="72">
                  <c:v>0.43</c:v>
                </c:pt>
                <c:pt idx="73">
                  <c:v>0.08</c:v>
                </c:pt>
                <c:pt idx="74">
                  <c:v>0.41</c:v>
                </c:pt>
                <c:pt idx="75">
                  <c:v>0.18</c:v>
                </c:pt>
                <c:pt idx="76">
                  <c:v>0.41</c:v>
                </c:pt>
                <c:pt idx="77">
                  <c:v>0.4</c:v>
                </c:pt>
                <c:pt idx="78">
                  <c:v>0.21</c:v>
                </c:pt>
                <c:pt idx="79">
                  <c:v>0.06</c:v>
                </c:pt>
                <c:pt idx="80">
                  <c:v>0.71</c:v>
                </c:pt>
                <c:pt idx="81">
                  <c:v>0.38</c:v>
                </c:pt>
                <c:pt idx="82">
                  <c:v>0.61</c:v>
                </c:pt>
                <c:pt idx="83">
                  <c:v>0.27</c:v>
                </c:pt>
                <c:pt idx="84">
                  <c:v>0.53</c:v>
                </c:pt>
                <c:pt idx="85">
                  <c:v>0.24</c:v>
                </c:pt>
                <c:pt idx="86">
                  <c:v>0.23</c:v>
                </c:pt>
                <c:pt idx="87">
                  <c:v>0.34</c:v>
                </c:pt>
                <c:pt idx="88">
                  <c:v>0.11</c:v>
                </c:pt>
                <c:pt idx="89">
                  <c:v>0.37</c:v>
                </c:pt>
                <c:pt idx="90">
                  <c:v>0.11</c:v>
                </c:pt>
                <c:pt idx="91">
                  <c:v>0.36</c:v>
                </c:pt>
                <c:pt idx="92">
                  <c:v>0.33</c:v>
                </c:pt>
                <c:pt idx="93">
                  <c:v>0.24</c:v>
                </c:pt>
                <c:pt idx="94">
                  <c:v>0.34</c:v>
                </c:pt>
                <c:pt idx="95">
                  <c:v>0.22</c:v>
                </c:pt>
                <c:pt idx="96">
                  <c:v>0.06</c:v>
                </c:pt>
                <c:pt idx="97">
                  <c:v>0.01</c:v>
                </c:pt>
                <c:pt idx="98">
                  <c:v>0.13</c:v>
                </c:pt>
                <c:pt idx="99">
                  <c:v>0.05</c:v>
                </c:pt>
                <c:pt idx="100">
                  <c:v>0.05</c:v>
                </c:pt>
                <c:pt idx="101">
                  <c:v>0.01</c:v>
                </c:pt>
                <c:pt idx="102">
                  <c:v>0.16</c:v>
                </c:pt>
                <c:pt idx="103">
                  <c:v>0.06</c:v>
                </c:pt>
                <c:pt idx="104">
                  <c:v>0.01</c:v>
                </c:pt>
                <c:pt idx="105">
                  <c:v>0.01</c:v>
                </c:pt>
                <c:pt idx="10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8</c:f>
              <c:strCache>
                <c:ptCount val="107"/>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pt idx="19">
                  <c:v>Harry's</c:v>
                </c:pt>
                <c:pt idx="20">
                  <c:v>Schick</c:v>
                </c:pt>
                <c:pt idx="21">
                  <c:v>Bic</c:v>
                </c:pt>
                <c:pt idx="22">
                  <c:v>Bic</c:v>
                </c:pt>
                <c:pt idx="23">
                  <c:v>Schick</c:v>
                </c:pt>
                <c:pt idx="24">
                  <c:v>Bic</c:v>
                </c:pt>
                <c:pt idx="25">
                  <c:v>Schick</c:v>
                </c:pt>
                <c:pt idx="26">
                  <c:v>Gillette</c:v>
                </c:pt>
                <c:pt idx="27">
                  <c:v>Equate</c:v>
                </c:pt>
                <c:pt idx="28">
                  <c:v>Gillette</c:v>
                </c:pt>
                <c:pt idx="29">
                  <c:v>Harry's</c:v>
                </c:pt>
                <c:pt idx="30">
                  <c:v>Dollar Shav</c:v>
                </c:pt>
                <c:pt idx="31">
                  <c:v>Bic</c:v>
                </c:pt>
                <c:pt idx="32">
                  <c:v>Equate</c:v>
                </c:pt>
                <c:pt idx="33">
                  <c:v>Dollar Shav</c:v>
                </c:pt>
                <c:pt idx="34">
                  <c:v>Schick</c:v>
                </c:pt>
                <c:pt idx="35">
                  <c:v>Schick</c:v>
                </c:pt>
                <c:pt idx="36">
                  <c:v>Gillette</c:v>
                </c:pt>
                <c:pt idx="37">
                  <c:v>Harry's</c:v>
                </c:pt>
                <c:pt idx="38">
                  <c:v>Harry's</c:v>
                </c:pt>
                <c:pt idx="39">
                  <c:v>Gillette</c:v>
                </c:pt>
                <c:pt idx="40">
                  <c:v>Gillette</c:v>
                </c:pt>
                <c:pt idx="41">
                  <c:v>Gillette</c:v>
                </c:pt>
                <c:pt idx="42">
                  <c:v>Bic</c:v>
                </c:pt>
                <c:pt idx="43">
                  <c:v>Gillette</c:v>
                </c:pt>
                <c:pt idx="44">
                  <c:v>Bic</c:v>
                </c:pt>
                <c:pt idx="45">
                  <c:v>Gillette</c:v>
                </c:pt>
                <c:pt idx="46">
                  <c:v>Gillette</c:v>
                </c:pt>
                <c:pt idx="47">
                  <c:v>Bic</c:v>
                </c:pt>
                <c:pt idx="48">
                  <c:v>Equate</c:v>
                </c:pt>
                <c:pt idx="49">
                  <c:v>Comfort 3</c:v>
                </c:pt>
                <c:pt idx="50">
                  <c:v>Gillette</c:v>
                </c:pt>
                <c:pt idx="51">
                  <c:v>Equate</c:v>
                </c:pt>
                <c:pt idx="52">
                  <c:v>Equate</c:v>
                </c:pt>
                <c:pt idx="53">
                  <c:v>Gillette</c:v>
                </c:pt>
                <c:pt idx="54">
                  <c:v>Gillette</c:v>
                </c:pt>
                <c:pt idx="55">
                  <c:v>Equate</c:v>
                </c:pt>
                <c:pt idx="56">
                  <c:v>Gillette</c:v>
                </c:pt>
                <c:pt idx="57">
                  <c:v>Gillette</c:v>
                </c:pt>
                <c:pt idx="58">
                  <c:v>Bic</c:v>
                </c:pt>
                <c:pt idx="59">
                  <c:v>Equate</c:v>
                </c:pt>
                <c:pt idx="60">
                  <c:v>Gillette</c:v>
                </c:pt>
                <c:pt idx="61">
                  <c:v>Dollar Shav</c:v>
                </c:pt>
                <c:pt idx="62">
                  <c:v>Bic</c:v>
                </c:pt>
                <c:pt idx="63">
                  <c:v>Schick</c:v>
                </c:pt>
                <c:pt idx="64">
                  <c:v>Equate</c:v>
                </c:pt>
                <c:pt idx="65">
                  <c:v>Gillette</c:v>
                </c:pt>
                <c:pt idx="66">
                  <c:v>Gillette</c:v>
                </c:pt>
                <c:pt idx="67">
                  <c:v>Bic</c:v>
                </c:pt>
                <c:pt idx="68">
                  <c:v>Gillette</c:v>
                </c:pt>
                <c:pt idx="69">
                  <c:v>Gillette</c:v>
                </c:pt>
                <c:pt idx="70">
                  <c:v>Gillette</c:v>
                </c:pt>
                <c:pt idx="71">
                  <c:v>Gillette</c:v>
                </c:pt>
                <c:pt idx="72">
                  <c:v>Bic</c:v>
                </c:pt>
                <c:pt idx="73">
                  <c:v>Gillette</c:v>
                </c:pt>
                <c:pt idx="74">
                  <c:v>Gillette</c:v>
                </c:pt>
                <c:pt idx="75">
                  <c:v>Gillette</c:v>
                </c:pt>
                <c:pt idx="76">
                  <c:v>Equate</c:v>
                </c:pt>
                <c:pt idx="77">
                  <c:v>Gillette</c:v>
                </c:pt>
                <c:pt idx="78">
                  <c:v>Gillette</c:v>
                </c:pt>
                <c:pt idx="79">
                  <c:v>Gillette</c:v>
                </c:pt>
                <c:pt idx="80">
                  <c:v>Schick</c:v>
                </c:pt>
                <c:pt idx="81">
                  <c:v>Bic</c:v>
                </c:pt>
                <c:pt idx="82">
                  <c:v>Schick</c:v>
                </c:pt>
                <c:pt idx="83">
                  <c:v>Harry's</c:v>
                </c:pt>
                <c:pt idx="84">
                  <c:v>Bic</c:v>
                </c:pt>
                <c:pt idx="85">
                  <c:v>Gillette</c:v>
                </c:pt>
                <c:pt idx="86">
                  <c:v>Gillette</c:v>
                </c:pt>
                <c:pt idx="87">
                  <c:v>Dollar Shav</c:v>
                </c:pt>
                <c:pt idx="88">
                  <c:v>Bic</c:v>
                </c:pt>
                <c:pt idx="89">
                  <c:v>Bic</c:v>
                </c:pt>
                <c:pt idx="90">
                  <c:v>Bic</c:v>
                </c:pt>
                <c:pt idx="91">
                  <c:v>Bic</c:v>
                </c:pt>
                <c:pt idx="92">
                  <c:v>Gillette</c:v>
                </c:pt>
                <c:pt idx="93">
                  <c:v>Schick</c:v>
                </c:pt>
                <c:pt idx="94">
                  <c:v>Harry's</c:v>
                </c:pt>
                <c:pt idx="95">
                  <c:v>Harry's</c:v>
                </c:pt>
                <c:pt idx="96">
                  <c:v>Van Der Hag</c:v>
                </c:pt>
                <c:pt idx="97">
                  <c:v>Gillette</c:v>
                </c:pt>
                <c:pt idx="98">
                  <c:v>Van Der Hag</c:v>
                </c:pt>
                <c:pt idx="99">
                  <c:v>Bic</c:v>
                </c:pt>
                <c:pt idx="100">
                  <c:v>Gillette</c:v>
                </c:pt>
                <c:pt idx="101">
                  <c:v>Bic</c:v>
                </c:pt>
                <c:pt idx="102">
                  <c:v>Gillette</c:v>
                </c:pt>
                <c:pt idx="103">
                  <c:v>Equate</c:v>
                </c:pt>
                <c:pt idx="104">
                  <c:v>Bic</c:v>
                </c:pt>
                <c:pt idx="105">
                  <c:v>Schick</c:v>
                </c:pt>
                <c:pt idx="106">
                  <c:v>Harry's</c:v>
                </c:pt>
              </c:strCache>
            </c:strRef>
          </c:cat>
          <c:val>
            <c:numRef>
              <c:f>Sheet1!$C$2:$C$108</c:f>
              <c:numCache>
                <c:formatCode>General</c:formatCode>
                <c:ptCount val="107"/>
                <c:pt idx="0">
                  <c:v>6.1087047744617616E-2</c:v>
                </c:pt>
                <c:pt idx="1">
                  <c:v>0.11496672950225129</c:v>
                </c:pt>
                <c:pt idx="2">
                  <c:v>0.15531844008005341</c:v>
                </c:pt>
                <c:pt idx="3">
                  <c:v>0.18654378119524143</c:v>
                </c:pt>
                <c:pt idx="4">
                  <c:v>0.21732832399554053</c:v>
                </c:pt>
                <c:pt idx="5">
                  <c:v>0.24481174850342519</c:v>
                </c:pt>
                <c:pt idx="6">
                  <c:v>0.27186728510731728</c:v>
                </c:pt>
                <c:pt idx="7">
                  <c:v>0.29808449340137838</c:v>
                </c:pt>
                <c:pt idx="8">
                  <c:v>0.32086672088547424</c:v>
                </c:pt>
                <c:pt idx="9">
                  <c:v>0.34317860365717273</c:v>
                </c:pt>
                <c:pt idx="10">
                  <c:v>0.36381995303266296</c:v>
                </c:pt>
                <c:pt idx="11">
                  <c:v>0.38331238649904487</c:v>
                </c:pt>
                <c:pt idx="12">
                  <c:v>0.40225974241738377</c:v>
                </c:pt>
                <c:pt idx="13">
                  <c:v>0.42097371499360536</c:v>
                </c:pt>
                <c:pt idx="14">
                  <c:v>0.43917850096407579</c:v>
                </c:pt>
                <c:pt idx="15">
                  <c:v>0.4552899929118156</c:v>
                </c:pt>
                <c:pt idx="16">
                  <c:v>0.47113719030506346</c:v>
                </c:pt>
                <c:pt idx="17">
                  <c:v>0.48688272743422484</c:v>
                </c:pt>
                <c:pt idx="18">
                  <c:v>0.50225611274757753</c:v>
                </c:pt>
                <c:pt idx="19">
                  <c:v>0.51743989945519553</c:v>
                </c:pt>
                <c:pt idx="20">
                  <c:v>0.53253486253584681</c:v>
                </c:pt>
                <c:pt idx="21">
                  <c:v>0.54733259107077636</c:v>
                </c:pt>
                <c:pt idx="22">
                  <c:v>0.56147716347501653</c:v>
                </c:pt>
                <c:pt idx="23">
                  <c:v>0.57397650688840518</c:v>
                </c:pt>
                <c:pt idx="24">
                  <c:v>0.58621011715865923</c:v>
                </c:pt>
                <c:pt idx="25">
                  <c:v>0.59827342066574651</c:v>
                </c:pt>
                <c:pt idx="26">
                  <c:v>0.61014078102231584</c:v>
                </c:pt>
                <c:pt idx="27">
                  <c:v>0.62197560714342637</c:v>
                </c:pt>
                <c:pt idx="28">
                  <c:v>0.63371563396166963</c:v>
                </c:pt>
                <c:pt idx="29">
                  <c:v>0.64507948829328221</c:v>
                </c:pt>
                <c:pt idx="30">
                  <c:v>0.65598882238756751</c:v>
                </c:pt>
                <c:pt idx="31">
                  <c:v>0.66687868020484342</c:v>
                </c:pt>
                <c:pt idx="32">
                  <c:v>0.67767635768831957</c:v>
                </c:pt>
                <c:pt idx="33">
                  <c:v>0.68837610048342501</c:v>
                </c:pt>
                <c:pt idx="34">
                  <c:v>0.69904917405830747</c:v>
                </c:pt>
                <c:pt idx="35">
                  <c:v>0.70967872110502517</c:v>
                </c:pt>
                <c:pt idx="36">
                  <c:v>0.72028458676947016</c:v>
                </c:pt>
                <c:pt idx="37">
                  <c:v>0.73046739671228667</c:v>
                </c:pt>
                <c:pt idx="38">
                  <c:v>0.74033482376034998</c:v>
                </c:pt>
                <c:pt idx="39">
                  <c:v>0.750152748604348</c:v>
                </c:pt>
                <c:pt idx="40">
                  <c:v>0.75969841132598659</c:v>
                </c:pt>
                <c:pt idx="41">
                  <c:v>0.76924296744097687</c:v>
                </c:pt>
                <c:pt idx="42">
                  <c:v>0.77870412230157693</c:v>
                </c:pt>
                <c:pt idx="43">
                  <c:v>0.7879931629414848</c:v>
                </c:pt>
                <c:pt idx="44">
                  <c:v>0.79725575568249929</c:v>
                </c:pt>
                <c:pt idx="45">
                  <c:v>0.80645239466727769</c:v>
                </c:pt>
                <c:pt idx="46">
                  <c:v>0.81549204305555678</c:v>
                </c:pt>
                <c:pt idx="47">
                  <c:v>0.82422099318389364</c:v>
                </c:pt>
                <c:pt idx="48">
                  <c:v>0.83287967379006622</c:v>
                </c:pt>
                <c:pt idx="49">
                  <c:v>0.84148490529512798</c:v>
                </c:pt>
                <c:pt idx="50">
                  <c:v>0.84990821066721634</c:v>
                </c:pt>
                <c:pt idx="51">
                  <c:v>0.85825047554576406</c:v>
                </c:pt>
                <c:pt idx="52">
                  <c:v>0.86623169156187385</c:v>
                </c:pt>
                <c:pt idx="53">
                  <c:v>0.87397720036190496</c:v>
                </c:pt>
                <c:pt idx="54">
                  <c:v>0.88047032553121574</c:v>
                </c:pt>
                <c:pt idx="55">
                  <c:v>0.88692711711557548</c:v>
                </c:pt>
                <c:pt idx="56">
                  <c:v>0.89333304168100369</c:v>
                </c:pt>
                <c:pt idx="57">
                  <c:v>0.89956441749111349</c:v>
                </c:pt>
                <c:pt idx="58">
                  <c:v>0.90573570456022301</c:v>
                </c:pt>
                <c:pt idx="59">
                  <c:v>0.91178817896219799</c:v>
                </c:pt>
                <c:pt idx="60">
                  <c:v>0.9176824455003606</c:v>
                </c:pt>
                <c:pt idx="61">
                  <c:v>0.92344513650804549</c:v>
                </c:pt>
                <c:pt idx="62">
                  <c:v>0.92907300593908437</c:v>
                </c:pt>
                <c:pt idx="63">
                  <c:v>0.93445104047583527</c:v>
                </c:pt>
                <c:pt idx="64">
                  <c:v>0.9394112941159809</c:v>
                </c:pt>
                <c:pt idx="65">
                  <c:v>0.94432927538216316</c:v>
                </c:pt>
                <c:pt idx="66">
                  <c:v>0.94898705653845206</c:v>
                </c:pt>
                <c:pt idx="67">
                  <c:v>0.95328316175520234</c:v>
                </c:pt>
                <c:pt idx="68">
                  <c:v>0.95746561846917666</c:v>
                </c:pt>
                <c:pt idx="69">
                  <c:v>0.96061538985899786</c:v>
                </c:pt>
                <c:pt idx="70">
                  <c:v>0.96322318219939129</c:v>
                </c:pt>
                <c:pt idx="71">
                  <c:v>0.96577346788096363</c:v>
                </c:pt>
                <c:pt idx="72">
                  <c:v>0.96830084680491701</c:v>
                </c:pt>
                <c:pt idx="73">
                  <c:v>0.97080266311529573</c:v>
                </c:pt>
                <c:pt idx="74">
                  <c:v>0.97300326109601898</c:v>
                </c:pt>
                <c:pt idx="75">
                  <c:v>0.97476663879001602</c:v>
                </c:pt>
                <c:pt idx="76">
                  <c:v>0.97650331037690175</c:v>
                </c:pt>
                <c:pt idx="77">
                  <c:v>0.97822504277403599</c:v>
                </c:pt>
                <c:pt idx="78">
                  <c:v>0.97993548778335804</c:v>
                </c:pt>
                <c:pt idx="79">
                  <c:v>0.98149344239655034</c:v>
                </c:pt>
                <c:pt idx="80">
                  <c:v>0.98289835331028874</c:v>
                </c:pt>
                <c:pt idx="81">
                  <c:v>0.98429489090038869</c:v>
                </c:pt>
                <c:pt idx="82">
                  <c:v>0.98566652984090286</c:v>
                </c:pt>
                <c:pt idx="83">
                  <c:v>0.98697712098132151</c:v>
                </c:pt>
                <c:pt idx="84">
                  <c:v>0.98828332258203544</c:v>
                </c:pt>
                <c:pt idx="85">
                  <c:v>0.98956108439188917</c:v>
                </c:pt>
                <c:pt idx="86">
                  <c:v>0.99080627507939589</c:v>
                </c:pt>
                <c:pt idx="87">
                  <c:v>0.99189218818333014</c:v>
                </c:pt>
                <c:pt idx="88">
                  <c:v>0.99286629712890218</c:v>
                </c:pt>
                <c:pt idx="89">
                  <c:v>0.99376545191749899</c:v>
                </c:pt>
                <c:pt idx="90">
                  <c:v>0.99464937242123819</c:v>
                </c:pt>
                <c:pt idx="91">
                  <c:v>0.9954692941738198</c:v>
                </c:pt>
                <c:pt idx="92">
                  <c:v>0.99627423984976171</c:v>
                </c:pt>
                <c:pt idx="93">
                  <c:v>0.99693248637103304</c:v>
                </c:pt>
                <c:pt idx="94">
                  <c:v>0.99747505561067329</c:v>
                </c:pt>
                <c:pt idx="95">
                  <c:v>0.99792323130321725</c:v>
                </c:pt>
                <c:pt idx="96">
                  <c:v>0.99833061009732882</c:v>
                </c:pt>
                <c:pt idx="97">
                  <c:v>0.99872419319522543</c:v>
                </c:pt>
                <c:pt idx="98">
                  <c:v>0.99903876457843654</c:v>
                </c:pt>
                <c:pt idx="99">
                  <c:v>0.99921172719755902</c:v>
                </c:pt>
                <c:pt idx="100">
                  <c:v>0.99935525407983794</c:v>
                </c:pt>
                <c:pt idx="101">
                  <c:v>0.99945938576543891</c:v>
                </c:pt>
                <c:pt idx="102">
                  <c:v>0.99953109387624595</c:v>
                </c:pt>
                <c:pt idx="103">
                  <c:v>0.99962799573174499</c:v>
                </c:pt>
                <c:pt idx="104">
                  <c:v>0.9997081140530788</c:v>
                </c:pt>
                <c:pt idx="105">
                  <c:v>0.99980870459740534</c:v>
                </c:pt>
                <c:pt idx="106">
                  <c:v>0.999859165860565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6</c:f>
              <c:strCache>
                <c:ptCount val="135"/>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Gillette</c:v>
                </c:pt>
                <c:pt idx="26">
                  <c:v>Bic</c:v>
                </c:pt>
                <c:pt idx="27">
                  <c:v>Gillette</c:v>
                </c:pt>
                <c:pt idx="28">
                  <c:v>Schick</c:v>
                </c:pt>
                <c:pt idx="29">
                  <c:v>Gillette</c:v>
                </c:pt>
                <c:pt idx="30">
                  <c:v>Gillette</c:v>
                </c:pt>
                <c:pt idx="31">
                  <c:v>Bic</c:v>
                </c:pt>
                <c:pt idx="32">
                  <c:v>Schick</c:v>
                </c:pt>
                <c:pt idx="33">
                  <c:v>Dollar Shav</c:v>
                </c:pt>
                <c:pt idx="34">
                  <c:v>Gillette</c:v>
                </c:pt>
                <c:pt idx="35">
                  <c:v>Dollar Shav</c:v>
                </c:pt>
                <c:pt idx="36">
                  <c:v>Equate</c:v>
                </c:pt>
                <c:pt idx="37">
                  <c:v>Gillette</c:v>
                </c:pt>
                <c:pt idx="38">
                  <c:v>Schick</c:v>
                </c:pt>
                <c:pt idx="39">
                  <c:v>Bic</c:v>
                </c:pt>
                <c:pt idx="40">
                  <c:v>Gillette</c:v>
                </c:pt>
                <c:pt idx="41">
                  <c:v>Schick</c:v>
                </c:pt>
                <c:pt idx="42">
                  <c:v>Harry's</c:v>
                </c:pt>
                <c:pt idx="43">
                  <c:v>Schick</c:v>
                </c:pt>
                <c:pt idx="44">
                  <c:v>Gillette</c:v>
                </c:pt>
                <c:pt idx="45">
                  <c:v>Gillette</c:v>
                </c:pt>
                <c:pt idx="46">
                  <c:v>Gillette</c:v>
                </c:pt>
                <c:pt idx="47">
                  <c:v>Equate</c:v>
                </c:pt>
                <c:pt idx="48">
                  <c:v>Schick</c:v>
                </c:pt>
                <c:pt idx="49">
                  <c:v>Gillette</c:v>
                </c:pt>
                <c:pt idx="50">
                  <c:v>Bic</c:v>
                </c:pt>
                <c:pt idx="51">
                  <c:v>Gillette</c:v>
                </c:pt>
                <c:pt idx="52">
                  <c:v>Equate</c:v>
                </c:pt>
                <c:pt idx="53">
                  <c:v>Bic</c:v>
                </c:pt>
                <c:pt idx="54">
                  <c:v>Equate</c:v>
                </c:pt>
                <c:pt idx="55">
                  <c:v>Van Der Hag</c:v>
                </c:pt>
                <c:pt idx="56">
                  <c:v>Gillette</c:v>
                </c:pt>
                <c:pt idx="57">
                  <c:v>Gillette</c:v>
                </c:pt>
                <c:pt idx="58">
                  <c:v>Bic</c:v>
                </c:pt>
                <c:pt idx="59">
                  <c:v>Bic</c:v>
                </c:pt>
                <c:pt idx="60">
                  <c:v>Equate</c:v>
                </c:pt>
                <c:pt idx="61">
                  <c:v>Dollar Shav</c:v>
                </c:pt>
                <c:pt idx="62">
                  <c:v>Bic</c:v>
                </c:pt>
                <c:pt idx="63">
                  <c:v>Schick</c:v>
                </c:pt>
                <c:pt idx="64">
                  <c:v>Gillette</c:v>
                </c:pt>
                <c:pt idx="65">
                  <c:v>Comfort 3</c:v>
                </c:pt>
                <c:pt idx="66">
                  <c:v>Van Der Hag</c:v>
                </c:pt>
                <c:pt idx="67">
                  <c:v>Bic</c:v>
                </c:pt>
                <c:pt idx="68">
                  <c:v>Gillette</c:v>
                </c:pt>
                <c:pt idx="69">
                  <c:v>Gillette</c:v>
                </c:pt>
                <c:pt idx="70">
                  <c:v>Comfort 3</c:v>
                </c:pt>
                <c:pt idx="71">
                  <c:v>Equate</c:v>
                </c:pt>
                <c:pt idx="72">
                  <c:v>Gillette</c:v>
                </c:pt>
                <c:pt idx="73">
                  <c:v>Equate</c:v>
                </c:pt>
                <c:pt idx="74">
                  <c:v>Gillette</c:v>
                </c:pt>
                <c:pt idx="75">
                  <c:v>Harry's</c:v>
                </c:pt>
                <c:pt idx="76">
                  <c:v>Gillette</c:v>
                </c:pt>
                <c:pt idx="77">
                  <c:v>Gillette</c:v>
                </c:pt>
                <c:pt idx="78">
                  <c:v>Bic</c:v>
                </c:pt>
                <c:pt idx="79">
                  <c:v>Bic</c:v>
                </c:pt>
                <c:pt idx="80">
                  <c:v>Bic</c:v>
                </c:pt>
                <c:pt idx="81">
                  <c:v>Equate</c:v>
                </c:pt>
                <c:pt idx="82">
                  <c:v>Gillette</c:v>
                </c:pt>
                <c:pt idx="83">
                  <c:v>Schick</c:v>
                </c:pt>
                <c:pt idx="84">
                  <c:v>Gillette</c:v>
                </c:pt>
                <c:pt idx="85">
                  <c:v>Bic</c:v>
                </c:pt>
                <c:pt idx="86">
                  <c:v>Gillette</c:v>
                </c:pt>
                <c:pt idx="87">
                  <c:v>Schick</c:v>
                </c:pt>
                <c:pt idx="88">
                  <c:v>Gillette</c:v>
                </c:pt>
                <c:pt idx="89">
                  <c:v>Harry's</c:v>
                </c:pt>
                <c:pt idx="90">
                  <c:v>Bic</c:v>
                </c:pt>
                <c:pt idx="91">
                  <c:v>Gillette</c:v>
                </c:pt>
                <c:pt idx="92">
                  <c:v>Gillette</c:v>
                </c:pt>
                <c:pt idx="93">
                  <c:v>Gillette</c:v>
                </c:pt>
                <c:pt idx="94">
                  <c:v>Bic</c:v>
                </c:pt>
                <c:pt idx="95">
                  <c:v>Gillette</c:v>
                </c:pt>
                <c:pt idx="96">
                  <c:v>Harry's</c:v>
                </c:pt>
                <c:pt idx="97">
                  <c:v>Gillette</c:v>
                </c:pt>
                <c:pt idx="98">
                  <c:v>Gillette</c:v>
                </c:pt>
                <c:pt idx="99">
                  <c:v>Gillette</c:v>
                </c:pt>
                <c:pt idx="100">
                  <c:v>Bic</c:v>
                </c:pt>
                <c:pt idx="101">
                  <c:v>Gillette</c:v>
                </c:pt>
                <c:pt idx="102">
                  <c:v>Bic</c:v>
                </c:pt>
                <c:pt idx="103">
                  <c:v>Equate</c:v>
                </c:pt>
                <c:pt idx="104">
                  <c:v>Gillette</c:v>
                </c:pt>
                <c:pt idx="105">
                  <c:v>Gillette</c:v>
                </c:pt>
                <c:pt idx="106">
                  <c:v>Gillette</c:v>
                </c:pt>
                <c:pt idx="107">
                  <c:v>Schick</c:v>
                </c:pt>
                <c:pt idx="108">
                  <c:v>Schick</c:v>
                </c:pt>
                <c:pt idx="109">
                  <c:v>Bic</c:v>
                </c:pt>
                <c:pt idx="110">
                  <c:v>Gillette</c:v>
                </c:pt>
                <c:pt idx="111">
                  <c:v>Schick</c:v>
                </c:pt>
                <c:pt idx="112">
                  <c:v>Gillette</c:v>
                </c:pt>
                <c:pt idx="113">
                  <c:v>Bic</c:v>
                </c:pt>
                <c:pt idx="114">
                  <c:v>Dollar Shav</c:v>
                </c:pt>
                <c:pt idx="115">
                  <c:v>Bic</c:v>
                </c:pt>
                <c:pt idx="116">
                  <c:v>Gillette</c:v>
                </c:pt>
                <c:pt idx="117">
                  <c:v>Bic</c:v>
                </c:pt>
                <c:pt idx="118">
                  <c:v>Gillette</c:v>
                </c:pt>
                <c:pt idx="119">
                  <c:v>Gillette</c:v>
                </c:pt>
                <c:pt idx="120">
                  <c:v>Gillette</c:v>
                </c:pt>
                <c:pt idx="121">
                  <c:v>Harry's</c:v>
                </c:pt>
                <c:pt idx="122">
                  <c:v>Gillette</c:v>
                </c:pt>
                <c:pt idx="123">
                  <c:v>Harry's</c:v>
                </c:pt>
                <c:pt idx="124">
                  <c:v>Schick</c:v>
                </c:pt>
                <c:pt idx="125">
                  <c:v>Schick</c:v>
                </c:pt>
                <c:pt idx="126">
                  <c:v>Cremo</c:v>
                </c:pt>
                <c:pt idx="127">
                  <c:v>Cremo</c:v>
                </c:pt>
                <c:pt idx="128">
                  <c:v>Bic</c:v>
                </c:pt>
                <c:pt idx="129">
                  <c:v>Gillette</c:v>
                </c:pt>
                <c:pt idx="130">
                  <c:v>Comfort 3</c:v>
                </c:pt>
                <c:pt idx="131">
                  <c:v>Bic</c:v>
                </c:pt>
                <c:pt idx="132">
                  <c:v>Bic</c:v>
                </c:pt>
                <c:pt idx="133">
                  <c:v>Schick</c:v>
                </c:pt>
                <c:pt idx="134">
                  <c:v>Harry's</c:v>
                </c:pt>
              </c:strCache>
            </c:strRef>
          </c:cat>
          <c:val>
            <c:numRef>
              <c:f>Sheet1!$B$2:$B$136</c:f>
              <c:numCache>
                <c:formatCode>General</c:formatCode>
                <c:ptCount val="135"/>
                <c:pt idx="0">
                  <c:v>0.99</c:v>
                </c:pt>
                <c:pt idx="1">
                  <c:v>0.99</c:v>
                </c:pt>
                <c:pt idx="2">
                  <c:v>0.99</c:v>
                </c:pt>
                <c:pt idx="3">
                  <c:v>0.94</c:v>
                </c:pt>
                <c:pt idx="4">
                  <c:v>0.94</c:v>
                </c:pt>
                <c:pt idx="5">
                  <c:v>0.88</c:v>
                </c:pt>
                <c:pt idx="6">
                  <c:v>0.65</c:v>
                </c:pt>
                <c:pt idx="7">
                  <c:v>0.96</c:v>
                </c:pt>
                <c:pt idx="8">
                  <c:v>0.92</c:v>
                </c:pt>
                <c:pt idx="9">
                  <c:v>0.84</c:v>
                </c:pt>
                <c:pt idx="10">
                  <c:v>0.99</c:v>
                </c:pt>
                <c:pt idx="11">
                  <c:v>0.86</c:v>
                </c:pt>
                <c:pt idx="12">
                  <c:v>0.98</c:v>
                </c:pt>
                <c:pt idx="13">
                  <c:v>0.89</c:v>
                </c:pt>
                <c:pt idx="14">
                  <c:v>0.81</c:v>
                </c:pt>
                <c:pt idx="15">
                  <c:v>0.95</c:v>
                </c:pt>
                <c:pt idx="16">
                  <c:v>0.91</c:v>
                </c:pt>
                <c:pt idx="17">
                  <c:v>0.87</c:v>
                </c:pt>
                <c:pt idx="18">
                  <c:v>0.94</c:v>
                </c:pt>
                <c:pt idx="19">
                  <c:v>0.66</c:v>
                </c:pt>
                <c:pt idx="20">
                  <c:v>0.69</c:v>
                </c:pt>
                <c:pt idx="21">
                  <c:v>0.97</c:v>
                </c:pt>
                <c:pt idx="22">
                  <c:v>0.75</c:v>
                </c:pt>
                <c:pt idx="23">
                  <c:v>0.96</c:v>
                </c:pt>
                <c:pt idx="24">
                  <c:v>0.96</c:v>
                </c:pt>
                <c:pt idx="25">
                  <c:v>0.83</c:v>
                </c:pt>
                <c:pt idx="26">
                  <c:v>0.99</c:v>
                </c:pt>
                <c:pt idx="27">
                  <c:v>0.66</c:v>
                </c:pt>
                <c:pt idx="28">
                  <c:v>0.8</c:v>
                </c:pt>
                <c:pt idx="29">
                  <c:v>0.68</c:v>
                </c:pt>
                <c:pt idx="30">
                  <c:v>0.76</c:v>
                </c:pt>
                <c:pt idx="31">
                  <c:v>0.84</c:v>
                </c:pt>
                <c:pt idx="32">
                  <c:v>0.95</c:v>
                </c:pt>
                <c:pt idx="33">
                  <c:v>0.88</c:v>
                </c:pt>
                <c:pt idx="34">
                  <c:v>0.46</c:v>
                </c:pt>
                <c:pt idx="35">
                  <c:v>0.91</c:v>
                </c:pt>
                <c:pt idx="36">
                  <c:v>0.86</c:v>
                </c:pt>
                <c:pt idx="37">
                  <c:v>0.62</c:v>
                </c:pt>
                <c:pt idx="38">
                  <c:v>0.87</c:v>
                </c:pt>
                <c:pt idx="39">
                  <c:v>0.64</c:v>
                </c:pt>
                <c:pt idx="40">
                  <c:v>0.56999999999999995</c:v>
                </c:pt>
                <c:pt idx="41">
                  <c:v>0.87</c:v>
                </c:pt>
                <c:pt idx="42">
                  <c:v>0.86</c:v>
                </c:pt>
                <c:pt idx="43">
                  <c:v>0.96</c:v>
                </c:pt>
                <c:pt idx="44">
                  <c:v>0.81</c:v>
                </c:pt>
                <c:pt idx="45">
                  <c:v>0.63</c:v>
                </c:pt>
                <c:pt idx="46">
                  <c:v>0.67</c:v>
                </c:pt>
                <c:pt idx="47">
                  <c:v>0.99</c:v>
                </c:pt>
                <c:pt idx="48">
                  <c:v>0.49</c:v>
                </c:pt>
                <c:pt idx="49">
                  <c:v>0.84</c:v>
                </c:pt>
                <c:pt idx="50">
                  <c:v>0.81</c:v>
                </c:pt>
                <c:pt idx="51">
                  <c:v>0.9</c:v>
                </c:pt>
                <c:pt idx="52">
                  <c:v>0.93</c:v>
                </c:pt>
                <c:pt idx="53">
                  <c:v>0.9</c:v>
                </c:pt>
                <c:pt idx="54">
                  <c:v>0.97</c:v>
                </c:pt>
                <c:pt idx="55">
                  <c:v>0.65</c:v>
                </c:pt>
                <c:pt idx="56">
                  <c:v>0.67</c:v>
                </c:pt>
                <c:pt idx="57">
                  <c:v>0.65</c:v>
                </c:pt>
                <c:pt idx="58">
                  <c:v>0.91</c:v>
                </c:pt>
                <c:pt idx="59">
                  <c:v>0.91</c:v>
                </c:pt>
                <c:pt idx="60">
                  <c:v>0.95</c:v>
                </c:pt>
                <c:pt idx="61">
                  <c:v>0.59</c:v>
                </c:pt>
                <c:pt idx="62">
                  <c:v>0.96</c:v>
                </c:pt>
                <c:pt idx="63">
                  <c:v>0.73</c:v>
                </c:pt>
                <c:pt idx="64">
                  <c:v>0.64</c:v>
                </c:pt>
                <c:pt idx="65">
                  <c:v>0.89</c:v>
                </c:pt>
                <c:pt idx="66">
                  <c:v>0.93</c:v>
                </c:pt>
                <c:pt idx="67">
                  <c:v>0.9</c:v>
                </c:pt>
                <c:pt idx="68">
                  <c:v>0.56999999999999995</c:v>
                </c:pt>
                <c:pt idx="69">
                  <c:v>0.64</c:v>
                </c:pt>
                <c:pt idx="70">
                  <c:v>0.66</c:v>
                </c:pt>
                <c:pt idx="71">
                  <c:v>0.77</c:v>
                </c:pt>
                <c:pt idx="72">
                  <c:v>0.67</c:v>
                </c:pt>
                <c:pt idx="73">
                  <c:v>0.6</c:v>
                </c:pt>
                <c:pt idx="74">
                  <c:v>0.68</c:v>
                </c:pt>
                <c:pt idx="75">
                  <c:v>0.57999999999999996</c:v>
                </c:pt>
                <c:pt idx="76">
                  <c:v>0.35</c:v>
                </c:pt>
                <c:pt idx="77">
                  <c:v>0.89</c:v>
                </c:pt>
                <c:pt idx="78">
                  <c:v>0.83</c:v>
                </c:pt>
                <c:pt idx="79">
                  <c:v>0.75</c:v>
                </c:pt>
                <c:pt idx="80">
                  <c:v>0.87</c:v>
                </c:pt>
                <c:pt idx="81">
                  <c:v>0.98</c:v>
                </c:pt>
                <c:pt idx="82">
                  <c:v>0.46</c:v>
                </c:pt>
                <c:pt idx="83">
                  <c:v>0.91</c:v>
                </c:pt>
                <c:pt idx="84">
                  <c:v>0.41</c:v>
                </c:pt>
                <c:pt idx="85">
                  <c:v>0.8</c:v>
                </c:pt>
                <c:pt idx="86">
                  <c:v>0.49</c:v>
                </c:pt>
                <c:pt idx="87">
                  <c:v>0.87</c:v>
                </c:pt>
                <c:pt idx="88">
                  <c:v>0.21</c:v>
                </c:pt>
                <c:pt idx="89">
                  <c:v>0.26</c:v>
                </c:pt>
                <c:pt idx="90">
                  <c:v>0.6</c:v>
                </c:pt>
                <c:pt idx="91">
                  <c:v>0.47</c:v>
                </c:pt>
                <c:pt idx="92">
                  <c:v>0.6</c:v>
                </c:pt>
                <c:pt idx="93">
                  <c:v>0.31</c:v>
                </c:pt>
                <c:pt idx="94">
                  <c:v>0.83</c:v>
                </c:pt>
                <c:pt idx="95">
                  <c:v>0.84</c:v>
                </c:pt>
                <c:pt idx="96">
                  <c:v>0.74</c:v>
                </c:pt>
                <c:pt idx="97">
                  <c:v>0.17</c:v>
                </c:pt>
                <c:pt idx="98">
                  <c:v>0.69</c:v>
                </c:pt>
                <c:pt idx="99">
                  <c:v>0.74</c:v>
                </c:pt>
                <c:pt idx="100">
                  <c:v>0.52</c:v>
                </c:pt>
                <c:pt idx="101">
                  <c:v>0.64</c:v>
                </c:pt>
                <c:pt idx="102">
                  <c:v>0.78</c:v>
                </c:pt>
                <c:pt idx="103">
                  <c:v>0.71</c:v>
                </c:pt>
                <c:pt idx="104">
                  <c:v>0.38</c:v>
                </c:pt>
                <c:pt idx="105">
                  <c:v>0.46</c:v>
                </c:pt>
                <c:pt idx="106">
                  <c:v>0.56000000000000005</c:v>
                </c:pt>
                <c:pt idx="107">
                  <c:v>0.86</c:v>
                </c:pt>
                <c:pt idx="108">
                  <c:v>0.91</c:v>
                </c:pt>
                <c:pt idx="109">
                  <c:v>0.84</c:v>
                </c:pt>
                <c:pt idx="110">
                  <c:v>0.61</c:v>
                </c:pt>
                <c:pt idx="111">
                  <c:v>0.66</c:v>
                </c:pt>
                <c:pt idx="112">
                  <c:v>0.33</c:v>
                </c:pt>
                <c:pt idx="113">
                  <c:v>0.75</c:v>
                </c:pt>
                <c:pt idx="114">
                  <c:v>0.65</c:v>
                </c:pt>
                <c:pt idx="115">
                  <c:v>0.53</c:v>
                </c:pt>
                <c:pt idx="116">
                  <c:v>0.56000000000000005</c:v>
                </c:pt>
                <c:pt idx="117">
                  <c:v>0.73</c:v>
                </c:pt>
                <c:pt idx="118">
                  <c:v>0.35</c:v>
                </c:pt>
                <c:pt idx="119">
                  <c:v>0.42</c:v>
                </c:pt>
                <c:pt idx="120">
                  <c:v>0.18</c:v>
                </c:pt>
                <c:pt idx="121">
                  <c:v>0.68</c:v>
                </c:pt>
                <c:pt idx="122">
                  <c:v>0.19</c:v>
                </c:pt>
                <c:pt idx="123">
                  <c:v>0.55000000000000004</c:v>
                </c:pt>
                <c:pt idx="124">
                  <c:v>0.06</c:v>
                </c:pt>
                <c:pt idx="125">
                  <c:v>0.05</c:v>
                </c:pt>
                <c:pt idx="126">
                  <c:v>0.13</c:v>
                </c:pt>
                <c:pt idx="127">
                  <c:v>7.0000000000000007E-2</c:v>
                </c:pt>
                <c:pt idx="128">
                  <c:v>0.04</c:v>
                </c:pt>
                <c:pt idx="129">
                  <c:v>0.33</c:v>
                </c:pt>
                <c:pt idx="130">
                  <c:v>0.02</c:v>
                </c:pt>
                <c:pt idx="131">
                  <c:v>0.01</c:v>
                </c:pt>
                <c:pt idx="132">
                  <c:v>0.01</c:v>
                </c:pt>
                <c:pt idx="133">
                  <c:v>0.01</c:v>
                </c:pt>
                <c:pt idx="13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6</c:f>
              <c:strCache>
                <c:ptCount val="135"/>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Gillette</c:v>
                </c:pt>
                <c:pt idx="26">
                  <c:v>Bic</c:v>
                </c:pt>
                <c:pt idx="27">
                  <c:v>Gillette</c:v>
                </c:pt>
                <c:pt idx="28">
                  <c:v>Schick</c:v>
                </c:pt>
                <c:pt idx="29">
                  <c:v>Gillette</c:v>
                </c:pt>
                <c:pt idx="30">
                  <c:v>Gillette</c:v>
                </c:pt>
                <c:pt idx="31">
                  <c:v>Bic</c:v>
                </c:pt>
                <c:pt idx="32">
                  <c:v>Schick</c:v>
                </c:pt>
                <c:pt idx="33">
                  <c:v>Dollar Shav</c:v>
                </c:pt>
                <c:pt idx="34">
                  <c:v>Gillette</c:v>
                </c:pt>
                <c:pt idx="35">
                  <c:v>Dollar Shav</c:v>
                </c:pt>
                <c:pt idx="36">
                  <c:v>Equate</c:v>
                </c:pt>
                <c:pt idx="37">
                  <c:v>Gillette</c:v>
                </c:pt>
                <c:pt idx="38">
                  <c:v>Schick</c:v>
                </c:pt>
                <c:pt idx="39">
                  <c:v>Bic</c:v>
                </c:pt>
                <c:pt idx="40">
                  <c:v>Gillette</c:v>
                </c:pt>
                <c:pt idx="41">
                  <c:v>Schick</c:v>
                </c:pt>
                <c:pt idx="42">
                  <c:v>Harry's</c:v>
                </c:pt>
                <c:pt idx="43">
                  <c:v>Schick</c:v>
                </c:pt>
                <c:pt idx="44">
                  <c:v>Gillette</c:v>
                </c:pt>
                <c:pt idx="45">
                  <c:v>Gillette</c:v>
                </c:pt>
                <c:pt idx="46">
                  <c:v>Gillette</c:v>
                </c:pt>
                <c:pt idx="47">
                  <c:v>Equate</c:v>
                </c:pt>
                <c:pt idx="48">
                  <c:v>Schick</c:v>
                </c:pt>
                <c:pt idx="49">
                  <c:v>Gillette</c:v>
                </c:pt>
                <c:pt idx="50">
                  <c:v>Bic</c:v>
                </c:pt>
                <c:pt idx="51">
                  <c:v>Gillette</c:v>
                </c:pt>
                <c:pt idx="52">
                  <c:v>Equate</c:v>
                </c:pt>
                <c:pt idx="53">
                  <c:v>Bic</c:v>
                </c:pt>
                <c:pt idx="54">
                  <c:v>Equate</c:v>
                </c:pt>
                <c:pt idx="55">
                  <c:v>Van Der Hag</c:v>
                </c:pt>
                <c:pt idx="56">
                  <c:v>Gillette</c:v>
                </c:pt>
                <c:pt idx="57">
                  <c:v>Gillette</c:v>
                </c:pt>
                <c:pt idx="58">
                  <c:v>Bic</c:v>
                </c:pt>
                <c:pt idx="59">
                  <c:v>Bic</c:v>
                </c:pt>
                <c:pt idx="60">
                  <c:v>Equate</c:v>
                </c:pt>
                <c:pt idx="61">
                  <c:v>Dollar Shav</c:v>
                </c:pt>
                <c:pt idx="62">
                  <c:v>Bic</c:v>
                </c:pt>
                <c:pt idx="63">
                  <c:v>Schick</c:v>
                </c:pt>
                <c:pt idx="64">
                  <c:v>Gillette</c:v>
                </c:pt>
                <c:pt idx="65">
                  <c:v>Comfort 3</c:v>
                </c:pt>
                <c:pt idx="66">
                  <c:v>Van Der Hag</c:v>
                </c:pt>
                <c:pt idx="67">
                  <c:v>Bic</c:v>
                </c:pt>
                <c:pt idx="68">
                  <c:v>Gillette</c:v>
                </c:pt>
                <c:pt idx="69">
                  <c:v>Gillette</c:v>
                </c:pt>
                <c:pt idx="70">
                  <c:v>Comfort 3</c:v>
                </c:pt>
                <c:pt idx="71">
                  <c:v>Equate</c:v>
                </c:pt>
                <c:pt idx="72">
                  <c:v>Gillette</c:v>
                </c:pt>
                <c:pt idx="73">
                  <c:v>Equate</c:v>
                </c:pt>
                <c:pt idx="74">
                  <c:v>Gillette</c:v>
                </c:pt>
                <c:pt idx="75">
                  <c:v>Harry's</c:v>
                </c:pt>
                <c:pt idx="76">
                  <c:v>Gillette</c:v>
                </c:pt>
                <c:pt idx="77">
                  <c:v>Gillette</c:v>
                </c:pt>
                <c:pt idx="78">
                  <c:v>Bic</c:v>
                </c:pt>
                <c:pt idx="79">
                  <c:v>Bic</c:v>
                </c:pt>
                <c:pt idx="80">
                  <c:v>Bic</c:v>
                </c:pt>
                <c:pt idx="81">
                  <c:v>Equate</c:v>
                </c:pt>
                <c:pt idx="82">
                  <c:v>Gillette</c:v>
                </c:pt>
                <c:pt idx="83">
                  <c:v>Schick</c:v>
                </c:pt>
                <c:pt idx="84">
                  <c:v>Gillette</c:v>
                </c:pt>
                <c:pt idx="85">
                  <c:v>Bic</c:v>
                </c:pt>
                <c:pt idx="86">
                  <c:v>Gillette</c:v>
                </c:pt>
                <c:pt idx="87">
                  <c:v>Schick</c:v>
                </c:pt>
                <c:pt idx="88">
                  <c:v>Gillette</c:v>
                </c:pt>
                <c:pt idx="89">
                  <c:v>Harry's</c:v>
                </c:pt>
                <c:pt idx="90">
                  <c:v>Bic</c:v>
                </c:pt>
                <c:pt idx="91">
                  <c:v>Gillette</c:v>
                </c:pt>
                <c:pt idx="92">
                  <c:v>Gillette</c:v>
                </c:pt>
                <c:pt idx="93">
                  <c:v>Gillette</c:v>
                </c:pt>
                <c:pt idx="94">
                  <c:v>Bic</c:v>
                </c:pt>
                <c:pt idx="95">
                  <c:v>Gillette</c:v>
                </c:pt>
                <c:pt idx="96">
                  <c:v>Harry's</c:v>
                </c:pt>
                <c:pt idx="97">
                  <c:v>Gillette</c:v>
                </c:pt>
                <c:pt idx="98">
                  <c:v>Gillette</c:v>
                </c:pt>
                <c:pt idx="99">
                  <c:v>Gillette</c:v>
                </c:pt>
                <c:pt idx="100">
                  <c:v>Bic</c:v>
                </c:pt>
                <c:pt idx="101">
                  <c:v>Gillette</c:v>
                </c:pt>
                <c:pt idx="102">
                  <c:v>Bic</c:v>
                </c:pt>
                <c:pt idx="103">
                  <c:v>Equate</c:v>
                </c:pt>
                <c:pt idx="104">
                  <c:v>Gillette</c:v>
                </c:pt>
                <c:pt idx="105">
                  <c:v>Gillette</c:v>
                </c:pt>
                <c:pt idx="106">
                  <c:v>Gillette</c:v>
                </c:pt>
                <c:pt idx="107">
                  <c:v>Schick</c:v>
                </c:pt>
                <c:pt idx="108">
                  <c:v>Schick</c:v>
                </c:pt>
                <c:pt idx="109">
                  <c:v>Bic</c:v>
                </c:pt>
                <c:pt idx="110">
                  <c:v>Gillette</c:v>
                </c:pt>
                <c:pt idx="111">
                  <c:v>Schick</c:v>
                </c:pt>
                <c:pt idx="112">
                  <c:v>Gillette</c:v>
                </c:pt>
                <c:pt idx="113">
                  <c:v>Bic</c:v>
                </c:pt>
                <c:pt idx="114">
                  <c:v>Dollar Shav</c:v>
                </c:pt>
                <c:pt idx="115">
                  <c:v>Bic</c:v>
                </c:pt>
                <c:pt idx="116">
                  <c:v>Gillette</c:v>
                </c:pt>
                <c:pt idx="117">
                  <c:v>Bic</c:v>
                </c:pt>
                <c:pt idx="118">
                  <c:v>Gillette</c:v>
                </c:pt>
                <c:pt idx="119">
                  <c:v>Gillette</c:v>
                </c:pt>
                <c:pt idx="120">
                  <c:v>Gillette</c:v>
                </c:pt>
                <c:pt idx="121">
                  <c:v>Harry's</c:v>
                </c:pt>
                <c:pt idx="122">
                  <c:v>Gillette</c:v>
                </c:pt>
                <c:pt idx="123">
                  <c:v>Harry's</c:v>
                </c:pt>
                <c:pt idx="124">
                  <c:v>Schick</c:v>
                </c:pt>
                <c:pt idx="125">
                  <c:v>Schick</c:v>
                </c:pt>
                <c:pt idx="126">
                  <c:v>Cremo</c:v>
                </c:pt>
                <c:pt idx="127">
                  <c:v>Cremo</c:v>
                </c:pt>
                <c:pt idx="128">
                  <c:v>Bic</c:v>
                </c:pt>
                <c:pt idx="129">
                  <c:v>Gillette</c:v>
                </c:pt>
                <c:pt idx="130">
                  <c:v>Comfort 3</c:v>
                </c:pt>
                <c:pt idx="131">
                  <c:v>Bic</c:v>
                </c:pt>
                <c:pt idx="132">
                  <c:v>Bic</c:v>
                </c:pt>
                <c:pt idx="133">
                  <c:v>Schick</c:v>
                </c:pt>
                <c:pt idx="134">
                  <c:v>Harry's</c:v>
                </c:pt>
              </c:strCache>
            </c:strRef>
          </c:cat>
          <c:val>
            <c:numRef>
              <c:f>Sheet1!$C$2:$C$136</c:f>
              <c:numCache>
                <c:formatCode>General</c:formatCode>
                <c:ptCount val="135"/>
                <c:pt idx="0">
                  <c:v>5.5111046976871095E-2</c:v>
                </c:pt>
                <c:pt idx="1">
                  <c:v>0.10851469898097899</c:v>
                </c:pt>
                <c:pt idx="2">
                  <c:v>0.14446477073573616</c:v>
                </c:pt>
                <c:pt idx="3">
                  <c:v>0.1717159257232985</c:v>
                </c:pt>
                <c:pt idx="4">
                  <c:v>0.19884952815890175</c:v>
                </c:pt>
                <c:pt idx="5">
                  <c:v>0.2248677216175192</c:v>
                </c:pt>
                <c:pt idx="6">
                  <c:v>0.24867143162166533</c:v>
                </c:pt>
                <c:pt idx="7">
                  <c:v>0.27036093617567958</c:v>
                </c:pt>
                <c:pt idx="8">
                  <c:v>0.29198019772813916</c:v>
                </c:pt>
                <c:pt idx="9">
                  <c:v>0.31098822200215476</c:v>
                </c:pt>
                <c:pt idx="10">
                  <c:v>0.32871224990712017</c:v>
                </c:pt>
                <c:pt idx="11">
                  <c:v>0.34618262537262373</c:v>
                </c:pt>
                <c:pt idx="12">
                  <c:v>0.36361396789950667</c:v>
                </c:pt>
                <c:pt idx="13">
                  <c:v>0.37984566708809203</c:v>
                </c:pt>
                <c:pt idx="14">
                  <c:v>0.39597646234920891</c:v>
                </c:pt>
                <c:pt idx="15">
                  <c:v>0.41050138318075297</c:v>
                </c:pt>
                <c:pt idx="16">
                  <c:v>0.42487230132719384</c:v>
                </c:pt>
                <c:pt idx="17">
                  <c:v>0.43856752265819615</c:v>
                </c:pt>
                <c:pt idx="18">
                  <c:v>0.45163108284370895</c:v>
                </c:pt>
                <c:pt idx="19">
                  <c:v>0.4644066462574773</c:v>
                </c:pt>
                <c:pt idx="20">
                  <c:v>0.47688302306928798</c:v>
                </c:pt>
                <c:pt idx="21">
                  <c:v>0.48893975914301141</c:v>
                </c:pt>
                <c:pt idx="22">
                  <c:v>0.50079682341173259</c:v>
                </c:pt>
                <c:pt idx="23">
                  <c:v>0.51220697856634889</c:v>
                </c:pt>
                <c:pt idx="24">
                  <c:v>0.52359539859848203</c:v>
                </c:pt>
                <c:pt idx="25">
                  <c:v>0.53494722655951255</c:v>
                </c:pt>
                <c:pt idx="26">
                  <c:v>0.54621242350189714</c:v>
                </c:pt>
                <c:pt idx="27">
                  <c:v>0.55727327399405213</c:v>
                </c:pt>
                <c:pt idx="28">
                  <c:v>0.56798449639134818</c:v>
                </c:pt>
                <c:pt idx="29">
                  <c:v>0.57828333550126088</c:v>
                </c:pt>
                <c:pt idx="30">
                  <c:v>0.58851185947721374</c:v>
                </c:pt>
                <c:pt idx="31">
                  <c:v>0.59864194133488213</c:v>
                </c:pt>
                <c:pt idx="32">
                  <c:v>0.60838528413864179</c:v>
                </c:pt>
                <c:pt idx="33">
                  <c:v>0.61787531189644784</c:v>
                </c:pt>
                <c:pt idx="34">
                  <c:v>0.6272062388368993</c:v>
                </c:pt>
                <c:pt idx="35">
                  <c:v>0.63653178376918207</c:v>
                </c:pt>
                <c:pt idx="36">
                  <c:v>0.64578563839810255</c:v>
                </c:pt>
                <c:pt idx="37">
                  <c:v>0.6548453358607409</c:v>
                </c:pt>
                <c:pt idx="38">
                  <c:v>0.66352389034800308</c:v>
                </c:pt>
                <c:pt idx="39">
                  <c:v>0.67203272426638372</c:v>
                </c:pt>
                <c:pt idx="40">
                  <c:v>0.68048541590500056</c:v>
                </c:pt>
                <c:pt idx="41">
                  <c:v>0.68886187289872747</c:v>
                </c:pt>
                <c:pt idx="42">
                  <c:v>0.69714947673035799</c:v>
                </c:pt>
                <c:pt idx="43">
                  <c:v>0.70523470960892065</c:v>
                </c:pt>
                <c:pt idx="44">
                  <c:v>0.71331859058659886</c:v>
                </c:pt>
                <c:pt idx="45">
                  <c:v>0.72130156530995682</c:v>
                </c:pt>
                <c:pt idx="46">
                  <c:v>0.72896421165607794</c:v>
                </c:pt>
                <c:pt idx="47">
                  <c:v>0.73651990426010094</c:v>
                </c:pt>
                <c:pt idx="48">
                  <c:v>0.74405895754704043</c:v>
                </c:pt>
                <c:pt idx="49">
                  <c:v>0.75144606275899906</c:v>
                </c:pt>
                <c:pt idx="50">
                  <c:v>0.75880294682003036</c:v>
                </c:pt>
                <c:pt idx="51">
                  <c:v>0.76611845712954973</c:v>
                </c:pt>
                <c:pt idx="52">
                  <c:v>0.77341001482683891</c:v>
                </c:pt>
                <c:pt idx="53">
                  <c:v>0.78067250781853581</c:v>
                </c:pt>
                <c:pt idx="54">
                  <c:v>0.78790459118431122</c:v>
                </c:pt>
                <c:pt idx="55">
                  <c:v>0.79511293135451677</c:v>
                </c:pt>
                <c:pt idx="56">
                  <c:v>0.80186532724515325</c:v>
                </c:pt>
                <c:pt idx="57">
                  <c:v>0.80855623142378208</c:v>
                </c:pt>
                <c:pt idx="58">
                  <c:v>0.81516001827174289</c:v>
                </c:pt>
                <c:pt idx="59">
                  <c:v>0.82169800640505009</c:v>
                </c:pt>
                <c:pt idx="60">
                  <c:v>0.82821610460933615</c:v>
                </c:pt>
                <c:pt idx="61">
                  <c:v>0.8347242276000385</c:v>
                </c:pt>
                <c:pt idx="62">
                  <c:v>0.84115257447744085</c:v>
                </c:pt>
                <c:pt idx="63">
                  <c:v>0.8472737047873905</c:v>
                </c:pt>
                <c:pt idx="64">
                  <c:v>0.85331511017477923</c:v>
                </c:pt>
                <c:pt idx="65">
                  <c:v>0.85913553444855839</c:v>
                </c:pt>
                <c:pt idx="66">
                  <c:v>0.86474720288798368</c:v>
                </c:pt>
                <c:pt idx="67">
                  <c:v>0.87006650938172392</c:v>
                </c:pt>
                <c:pt idx="68">
                  <c:v>0.87524725650562929</c:v>
                </c:pt>
                <c:pt idx="69">
                  <c:v>0.88022352687560523</c:v>
                </c:pt>
                <c:pt idx="70">
                  <c:v>0.88510097817730826</c:v>
                </c:pt>
                <c:pt idx="71">
                  <c:v>0.88986119105204253</c:v>
                </c:pt>
                <c:pt idx="72">
                  <c:v>0.89446486962693628</c:v>
                </c:pt>
                <c:pt idx="73">
                  <c:v>0.89905879171231373</c:v>
                </c:pt>
                <c:pt idx="74">
                  <c:v>0.90364422311554349</c:v>
                </c:pt>
                <c:pt idx="75">
                  <c:v>0.9079871546798961</c:v>
                </c:pt>
                <c:pt idx="76">
                  <c:v>0.91214743536002207</c:v>
                </c:pt>
                <c:pt idx="77">
                  <c:v>0.91629229832024928</c:v>
                </c:pt>
                <c:pt idx="78">
                  <c:v>0.92018264325215227</c:v>
                </c:pt>
                <c:pt idx="79">
                  <c:v>0.9238563070925363</c:v>
                </c:pt>
                <c:pt idx="80">
                  <c:v>0.92729972662237192</c:v>
                </c:pt>
                <c:pt idx="81">
                  <c:v>0.9307103235809896</c:v>
                </c:pt>
                <c:pt idx="82">
                  <c:v>0.93401062776520383</c:v>
                </c:pt>
                <c:pt idx="83">
                  <c:v>0.93717066932407966</c:v>
                </c:pt>
                <c:pt idx="84">
                  <c:v>0.9403092526558342</c:v>
                </c:pt>
                <c:pt idx="85">
                  <c:v>0.94328616167216472</c:v>
                </c:pt>
                <c:pt idx="86">
                  <c:v>0.94618785753153711</c:v>
                </c:pt>
                <c:pt idx="87">
                  <c:v>0.9488189242408559</c:v>
                </c:pt>
                <c:pt idx="88">
                  <c:v>0.95144225882170752</c:v>
                </c:pt>
                <c:pt idx="89">
                  <c:v>0.9539522175495464</c:v>
                </c:pt>
                <c:pt idx="90">
                  <c:v>0.95639741999232941</c:v>
                </c:pt>
                <c:pt idx="91">
                  <c:v>0.9587817845684552</c:v>
                </c:pt>
                <c:pt idx="92">
                  <c:v>0.96105570745166358</c:v>
                </c:pt>
                <c:pt idx="93">
                  <c:v>0.96331855917409959</c:v>
                </c:pt>
                <c:pt idx="94">
                  <c:v>0.96544487821460157</c:v>
                </c:pt>
                <c:pt idx="95">
                  <c:v>0.96754662104659617</c:v>
                </c:pt>
                <c:pt idx="96">
                  <c:v>0.96959454612375584</c:v>
                </c:pt>
                <c:pt idx="97">
                  <c:v>0.97149799464700237</c:v>
                </c:pt>
                <c:pt idx="98">
                  <c:v>0.97340115464062815</c:v>
                </c:pt>
                <c:pt idx="99">
                  <c:v>0.97506048383615818</c:v>
                </c:pt>
                <c:pt idx="100">
                  <c:v>0.97671571311885064</c:v>
                </c:pt>
                <c:pt idx="101">
                  <c:v>0.97817961934072994</c:v>
                </c:pt>
                <c:pt idx="102">
                  <c:v>0.97959516892890353</c:v>
                </c:pt>
                <c:pt idx="103">
                  <c:v>0.98101009026709629</c:v>
                </c:pt>
                <c:pt idx="104">
                  <c:v>0.98233512299415027</c:v>
                </c:pt>
                <c:pt idx="105">
                  <c:v>0.98361956844559406</c:v>
                </c:pt>
                <c:pt idx="106">
                  <c:v>0.98479379325503968</c:v>
                </c:pt>
                <c:pt idx="107">
                  <c:v>0.98594447963187215</c:v>
                </c:pt>
                <c:pt idx="108">
                  <c:v>0.98702418772198719</c:v>
                </c:pt>
                <c:pt idx="109">
                  <c:v>0.98809173568469655</c:v>
                </c:pt>
                <c:pt idx="110">
                  <c:v>0.98907724118047147</c:v>
                </c:pt>
                <c:pt idx="111">
                  <c:v>0.99002136594417911</c:v>
                </c:pt>
                <c:pt idx="112">
                  <c:v>0.9909583612340308</c:v>
                </c:pt>
                <c:pt idx="113">
                  <c:v>0.99187799122904341</c:v>
                </c:pt>
                <c:pt idx="114">
                  <c:v>0.99277264247019059</c:v>
                </c:pt>
                <c:pt idx="115">
                  <c:v>0.99356757647827743</c:v>
                </c:pt>
                <c:pt idx="116">
                  <c:v>0.99436174262527666</c:v>
                </c:pt>
                <c:pt idx="117">
                  <c:v>0.99515002649097439</c:v>
                </c:pt>
                <c:pt idx="118">
                  <c:v>0.99590607415210275</c:v>
                </c:pt>
                <c:pt idx="119">
                  <c:v>0.99661913089973164</c:v>
                </c:pt>
                <c:pt idx="120">
                  <c:v>0.99724228274825921</c:v>
                </c:pt>
                <c:pt idx="121">
                  <c:v>0.99782340467307273</c:v>
                </c:pt>
                <c:pt idx="122">
                  <c:v>0.99835327303371357</c:v>
                </c:pt>
                <c:pt idx="123">
                  <c:v>0.99886061979596941</c:v>
                </c:pt>
                <c:pt idx="124">
                  <c:v>0.99912796343130872</c:v>
                </c:pt>
                <c:pt idx="125">
                  <c:v>0.99935344932996562</c:v>
                </c:pt>
                <c:pt idx="126">
                  <c:v>0.99955553873396796</c:v>
                </c:pt>
                <c:pt idx="127">
                  <c:v>0.99965310828283471</c:v>
                </c:pt>
                <c:pt idx="128">
                  <c:v>0.99973200251930983</c:v>
                </c:pt>
                <c:pt idx="129">
                  <c:v>0.99979155363693228</c:v>
                </c:pt>
                <c:pt idx="130">
                  <c:v>0.99981760041576506</c:v>
                </c:pt>
                <c:pt idx="131">
                  <c:v>0.99983602908186786</c:v>
                </c:pt>
                <c:pt idx="132">
                  <c:v>0.99985186796193881</c:v>
                </c:pt>
                <c:pt idx="133">
                  <c:v>0.99987324474924777</c:v>
                </c:pt>
                <c:pt idx="134">
                  <c:v>0.999881942521203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8</c:f>
              <c:strCache>
                <c:ptCount val="87"/>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Schick</c:v>
                </c:pt>
                <c:pt idx="19">
                  <c:v>Gillette</c:v>
                </c:pt>
                <c:pt idx="20">
                  <c:v>Gillette</c:v>
                </c:pt>
                <c:pt idx="21">
                  <c:v>Bic</c:v>
                </c:pt>
                <c:pt idx="22">
                  <c:v>Dollar Shav</c:v>
                </c:pt>
                <c:pt idx="23">
                  <c:v>Equate</c:v>
                </c:pt>
                <c:pt idx="24">
                  <c:v>Dollar Shav</c:v>
                </c:pt>
                <c:pt idx="25">
                  <c:v>Gillette</c:v>
                </c:pt>
                <c:pt idx="26">
                  <c:v>Gillette</c:v>
                </c:pt>
                <c:pt idx="27">
                  <c:v>Schick</c:v>
                </c:pt>
                <c:pt idx="28">
                  <c:v>Harry's</c:v>
                </c:pt>
                <c:pt idx="29">
                  <c:v>Gillette</c:v>
                </c:pt>
                <c:pt idx="30">
                  <c:v>Bic</c:v>
                </c:pt>
                <c:pt idx="31">
                  <c:v>Gillette</c:v>
                </c:pt>
                <c:pt idx="32">
                  <c:v>Schick</c:v>
                </c:pt>
                <c:pt idx="33">
                  <c:v>Bic</c:v>
                </c:pt>
                <c:pt idx="34">
                  <c:v>Van Der Hag</c:v>
                </c:pt>
                <c:pt idx="35">
                  <c:v>Dollar Shav</c:v>
                </c:pt>
                <c:pt idx="36">
                  <c:v>Comfort 3</c:v>
                </c:pt>
                <c:pt idx="37">
                  <c:v>Gillette</c:v>
                </c:pt>
                <c:pt idx="38">
                  <c:v>Van Der Hag</c:v>
                </c:pt>
                <c:pt idx="39">
                  <c:v>Gillette</c:v>
                </c:pt>
                <c:pt idx="40">
                  <c:v>Equate</c:v>
                </c:pt>
                <c:pt idx="41">
                  <c:v>Comfort 3</c:v>
                </c:pt>
                <c:pt idx="42">
                  <c:v>Gillette</c:v>
                </c:pt>
                <c:pt idx="43">
                  <c:v>Equate</c:v>
                </c:pt>
                <c:pt idx="44">
                  <c:v>Harry's</c:v>
                </c:pt>
                <c:pt idx="45">
                  <c:v>Gillette</c:v>
                </c:pt>
                <c:pt idx="46">
                  <c:v>Gillette</c:v>
                </c:pt>
                <c:pt idx="47">
                  <c:v>Gillette</c:v>
                </c:pt>
                <c:pt idx="48">
                  <c:v>Bic</c:v>
                </c:pt>
                <c:pt idx="49">
                  <c:v>Gillette</c:v>
                </c:pt>
                <c:pt idx="50">
                  <c:v>Gillette</c:v>
                </c:pt>
                <c:pt idx="51">
                  <c:v>Schick</c:v>
                </c:pt>
                <c:pt idx="52">
                  <c:v>Gillette</c:v>
                </c:pt>
                <c:pt idx="53">
                  <c:v>Harry's</c:v>
                </c:pt>
                <c:pt idx="54">
                  <c:v>Gillette</c:v>
                </c:pt>
                <c:pt idx="55">
                  <c:v>Gillette</c:v>
                </c:pt>
                <c:pt idx="56">
                  <c:v>Bic</c:v>
                </c:pt>
                <c:pt idx="57">
                  <c:v>Bic</c:v>
                </c:pt>
                <c:pt idx="58">
                  <c:v>Gillette</c:v>
                </c:pt>
                <c:pt idx="59">
                  <c:v>Gillette</c:v>
                </c:pt>
                <c:pt idx="60">
                  <c:v>Harry's</c:v>
                </c:pt>
                <c:pt idx="61">
                  <c:v>Gillette</c:v>
                </c:pt>
                <c:pt idx="62">
                  <c:v>Gillette</c:v>
                </c:pt>
                <c:pt idx="63">
                  <c:v>Equate</c:v>
                </c:pt>
                <c:pt idx="64">
                  <c:v>Gillette</c:v>
                </c:pt>
                <c:pt idx="65">
                  <c:v>Gillette</c:v>
                </c:pt>
                <c:pt idx="66">
                  <c:v>Dollar Shav</c:v>
                </c:pt>
                <c:pt idx="67">
                  <c:v>Gillette</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Schick</c:v>
                </c:pt>
                <c:pt idx="82">
                  <c:v>Harry's</c:v>
                </c:pt>
                <c:pt idx="83">
                  <c:v>Harry's</c:v>
                </c:pt>
                <c:pt idx="84">
                  <c:v>Dollar Shav</c:v>
                </c:pt>
                <c:pt idx="85">
                  <c:v>Dollar Shav</c:v>
                </c:pt>
                <c:pt idx="86">
                  <c:v>Schick</c:v>
                </c:pt>
              </c:strCache>
            </c:strRef>
          </c:cat>
          <c:val>
            <c:numRef>
              <c:f>Sheet1!$B$2:$B$88</c:f>
              <c:numCache>
                <c:formatCode>General</c:formatCode>
                <c:ptCount val="87"/>
                <c:pt idx="0">
                  <c:v>0.98599999999999999</c:v>
                </c:pt>
                <c:pt idx="1">
                  <c:v>0.98799999999999999</c:v>
                </c:pt>
                <c:pt idx="2">
                  <c:v>0.98499999999999999</c:v>
                </c:pt>
                <c:pt idx="3">
                  <c:v>0.92900000000000005</c:v>
                </c:pt>
                <c:pt idx="4">
                  <c:v>0.92100000000000004</c:v>
                </c:pt>
                <c:pt idx="5">
                  <c:v>0.86099999999999999</c:v>
                </c:pt>
                <c:pt idx="6">
                  <c:v>0.61899999999999999</c:v>
                </c:pt>
                <c:pt idx="7">
                  <c:v>0.94899999999999995</c:v>
                </c:pt>
                <c:pt idx="8">
                  <c:v>0.82599999999999996</c:v>
                </c:pt>
                <c:pt idx="9">
                  <c:v>0.83799999999999997</c:v>
                </c:pt>
                <c:pt idx="10">
                  <c:v>0.78200000000000003</c:v>
                </c:pt>
                <c:pt idx="11">
                  <c:v>0.84899999999999998</c:v>
                </c:pt>
                <c:pt idx="12">
                  <c:v>0.89700000000000002</c:v>
                </c:pt>
                <c:pt idx="13">
                  <c:v>0.92100000000000004</c:v>
                </c:pt>
                <c:pt idx="14">
                  <c:v>0.626</c:v>
                </c:pt>
                <c:pt idx="15">
                  <c:v>0.73499999999999999</c:v>
                </c:pt>
                <c:pt idx="16">
                  <c:v>0.65300000000000002</c:v>
                </c:pt>
                <c:pt idx="17">
                  <c:v>0.94699999999999995</c:v>
                </c:pt>
                <c:pt idx="18">
                  <c:v>0.78500000000000003</c:v>
                </c:pt>
                <c:pt idx="19">
                  <c:v>0.63200000000000001</c:v>
                </c:pt>
                <c:pt idx="20">
                  <c:v>0.73799999999999999</c:v>
                </c:pt>
                <c:pt idx="21">
                  <c:v>0.81799999999999995</c:v>
                </c:pt>
                <c:pt idx="22">
                  <c:v>0.86</c:v>
                </c:pt>
                <c:pt idx="23">
                  <c:v>0.84499999999999997</c:v>
                </c:pt>
                <c:pt idx="24">
                  <c:v>0.89100000000000001</c:v>
                </c:pt>
                <c:pt idx="25">
                  <c:v>0.60599999999999998</c:v>
                </c:pt>
                <c:pt idx="26">
                  <c:v>0.43099999999999999</c:v>
                </c:pt>
                <c:pt idx="27">
                  <c:v>0.85199999999999998</c:v>
                </c:pt>
                <c:pt idx="28">
                  <c:v>0.83399999999999996</c:v>
                </c:pt>
                <c:pt idx="29">
                  <c:v>0.54700000000000004</c:v>
                </c:pt>
                <c:pt idx="30">
                  <c:v>0.59899999999999998</c:v>
                </c:pt>
                <c:pt idx="31">
                  <c:v>0.66600000000000004</c:v>
                </c:pt>
                <c:pt idx="32">
                  <c:v>0.44800000000000001</c:v>
                </c:pt>
                <c:pt idx="33">
                  <c:v>0.89600000000000002</c:v>
                </c:pt>
                <c:pt idx="34">
                  <c:v>0.60699999999999998</c:v>
                </c:pt>
                <c:pt idx="35">
                  <c:v>0.56200000000000006</c:v>
                </c:pt>
                <c:pt idx="36">
                  <c:v>0.875</c:v>
                </c:pt>
                <c:pt idx="37">
                  <c:v>0.61299999999999999</c:v>
                </c:pt>
                <c:pt idx="38">
                  <c:v>0.873</c:v>
                </c:pt>
                <c:pt idx="39">
                  <c:v>0.54500000000000004</c:v>
                </c:pt>
                <c:pt idx="40">
                  <c:v>0.751</c:v>
                </c:pt>
                <c:pt idx="41">
                  <c:v>0.62</c:v>
                </c:pt>
                <c:pt idx="42">
                  <c:v>0.65100000000000002</c:v>
                </c:pt>
                <c:pt idx="43">
                  <c:v>0.58399999999999996</c:v>
                </c:pt>
                <c:pt idx="44">
                  <c:v>0.52600000000000002</c:v>
                </c:pt>
                <c:pt idx="45">
                  <c:v>0.32600000000000001</c:v>
                </c:pt>
                <c:pt idx="46">
                  <c:v>0.77700000000000002</c:v>
                </c:pt>
                <c:pt idx="47">
                  <c:v>0.433</c:v>
                </c:pt>
                <c:pt idx="48">
                  <c:v>0.65400000000000003</c:v>
                </c:pt>
                <c:pt idx="49">
                  <c:v>0.38500000000000001</c:v>
                </c:pt>
                <c:pt idx="50">
                  <c:v>0.46600000000000003</c:v>
                </c:pt>
                <c:pt idx="51">
                  <c:v>0.79300000000000004</c:v>
                </c:pt>
                <c:pt idx="52">
                  <c:v>0.19800000000000001</c:v>
                </c:pt>
                <c:pt idx="53">
                  <c:v>0.23599999999999999</c:v>
                </c:pt>
                <c:pt idx="54">
                  <c:v>0.57299999999999995</c:v>
                </c:pt>
                <c:pt idx="55">
                  <c:v>0.433</c:v>
                </c:pt>
                <c:pt idx="56">
                  <c:v>0.80200000000000005</c:v>
                </c:pt>
                <c:pt idx="57">
                  <c:v>0.52400000000000002</c:v>
                </c:pt>
                <c:pt idx="58">
                  <c:v>0.28699999999999998</c:v>
                </c:pt>
                <c:pt idx="59">
                  <c:v>0.16900000000000001</c:v>
                </c:pt>
                <c:pt idx="60">
                  <c:v>0.7</c:v>
                </c:pt>
                <c:pt idx="61">
                  <c:v>0.73299999999999998</c:v>
                </c:pt>
                <c:pt idx="62">
                  <c:v>0.61199999999999999</c:v>
                </c:pt>
                <c:pt idx="63">
                  <c:v>0.68899999999999995</c:v>
                </c:pt>
                <c:pt idx="64">
                  <c:v>0.35</c:v>
                </c:pt>
                <c:pt idx="65">
                  <c:v>0.42899999999999999</c:v>
                </c:pt>
                <c:pt idx="66">
                  <c:v>0.63</c:v>
                </c:pt>
                <c:pt idx="67">
                  <c:v>0.3</c:v>
                </c:pt>
                <c:pt idx="68">
                  <c:v>0.7</c:v>
                </c:pt>
                <c:pt idx="69">
                  <c:v>0.32300000000000001</c:v>
                </c:pt>
                <c:pt idx="70">
                  <c:v>0.38600000000000001</c:v>
                </c:pt>
                <c:pt idx="71">
                  <c:v>0.16700000000000001</c:v>
                </c:pt>
                <c:pt idx="72">
                  <c:v>0.17499999999999999</c:v>
                </c:pt>
                <c:pt idx="73">
                  <c:v>5.6000000000000001E-2</c:v>
                </c:pt>
                <c:pt idx="74">
                  <c:v>4.5999999999999999E-2</c:v>
                </c:pt>
                <c:pt idx="75">
                  <c:v>0.11700000000000001</c:v>
                </c:pt>
                <c:pt idx="76">
                  <c:v>6.4000000000000001E-2</c:v>
                </c:pt>
                <c:pt idx="77">
                  <c:v>3.5999999999999997E-2</c:v>
                </c:pt>
                <c:pt idx="78">
                  <c:v>1.7999999999999999E-2</c:v>
                </c:pt>
                <c:pt idx="79">
                  <c:v>8.9999999999999993E-3</c:v>
                </c:pt>
                <c:pt idx="80">
                  <c:v>8.9999999999999993E-3</c:v>
                </c:pt>
                <c:pt idx="81">
                  <c:v>0.01</c:v>
                </c:pt>
                <c:pt idx="82">
                  <c:v>0.01</c:v>
                </c:pt>
                <c:pt idx="83">
                  <c:v>1E-3</c:v>
                </c:pt>
                <c:pt idx="84">
                  <c:v>1E-3</c:v>
                </c:pt>
                <c:pt idx="85">
                  <c:v>1E-3</c:v>
                </c:pt>
                <c:pt idx="86">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8</c:f>
              <c:strCache>
                <c:ptCount val="87"/>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Schick</c:v>
                </c:pt>
                <c:pt idx="19">
                  <c:v>Gillette</c:v>
                </c:pt>
                <c:pt idx="20">
                  <c:v>Gillette</c:v>
                </c:pt>
                <c:pt idx="21">
                  <c:v>Bic</c:v>
                </c:pt>
                <c:pt idx="22">
                  <c:v>Dollar Shav</c:v>
                </c:pt>
                <c:pt idx="23">
                  <c:v>Equate</c:v>
                </c:pt>
                <c:pt idx="24">
                  <c:v>Dollar Shav</c:v>
                </c:pt>
                <c:pt idx="25">
                  <c:v>Gillette</c:v>
                </c:pt>
                <c:pt idx="26">
                  <c:v>Gillette</c:v>
                </c:pt>
                <c:pt idx="27">
                  <c:v>Schick</c:v>
                </c:pt>
                <c:pt idx="28">
                  <c:v>Harry's</c:v>
                </c:pt>
                <c:pt idx="29">
                  <c:v>Gillette</c:v>
                </c:pt>
                <c:pt idx="30">
                  <c:v>Bic</c:v>
                </c:pt>
                <c:pt idx="31">
                  <c:v>Gillette</c:v>
                </c:pt>
                <c:pt idx="32">
                  <c:v>Schick</c:v>
                </c:pt>
                <c:pt idx="33">
                  <c:v>Bic</c:v>
                </c:pt>
                <c:pt idx="34">
                  <c:v>Van Der Hag</c:v>
                </c:pt>
                <c:pt idx="35">
                  <c:v>Dollar Shav</c:v>
                </c:pt>
                <c:pt idx="36">
                  <c:v>Comfort 3</c:v>
                </c:pt>
                <c:pt idx="37">
                  <c:v>Gillette</c:v>
                </c:pt>
                <c:pt idx="38">
                  <c:v>Van Der Hag</c:v>
                </c:pt>
                <c:pt idx="39">
                  <c:v>Gillette</c:v>
                </c:pt>
                <c:pt idx="40">
                  <c:v>Equate</c:v>
                </c:pt>
                <c:pt idx="41">
                  <c:v>Comfort 3</c:v>
                </c:pt>
                <c:pt idx="42">
                  <c:v>Gillette</c:v>
                </c:pt>
                <c:pt idx="43">
                  <c:v>Equate</c:v>
                </c:pt>
                <c:pt idx="44">
                  <c:v>Harry's</c:v>
                </c:pt>
                <c:pt idx="45">
                  <c:v>Gillette</c:v>
                </c:pt>
                <c:pt idx="46">
                  <c:v>Gillette</c:v>
                </c:pt>
                <c:pt idx="47">
                  <c:v>Gillette</c:v>
                </c:pt>
                <c:pt idx="48">
                  <c:v>Bic</c:v>
                </c:pt>
                <c:pt idx="49">
                  <c:v>Gillette</c:v>
                </c:pt>
                <c:pt idx="50">
                  <c:v>Gillette</c:v>
                </c:pt>
                <c:pt idx="51">
                  <c:v>Schick</c:v>
                </c:pt>
                <c:pt idx="52">
                  <c:v>Gillette</c:v>
                </c:pt>
                <c:pt idx="53">
                  <c:v>Harry's</c:v>
                </c:pt>
                <c:pt idx="54">
                  <c:v>Gillette</c:v>
                </c:pt>
                <c:pt idx="55">
                  <c:v>Gillette</c:v>
                </c:pt>
                <c:pt idx="56">
                  <c:v>Bic</c:v>
                </c:pt>
                <c:pt idx="57">
                  <c:v>Bic</c:v>
                </c:pt>
                <c:pt idx="58">
                  <c:v>Gillette</c:v>
                </c:pt>
                <c:pt idx="59">
                  <c:v>Gillette</c:v>
                </c:pt>
                <c:pt idx="60">
                  <c:v>Harry's</c:v>
                </c:pt>
                <c:pt idx="61">
                  <c:v>Gillette</c:v>
                </c:pt>
                <c:pt idx="62">
                  <c:v>Gillette</c:v>
                </c:pt>
                <c:pt idx="63">
                  <c:v>Equate</c:v>
                </c:pt>
                <c:pt idx="64">
                  <c:v>Gillette</c:v>
                </c:pt>
                <c:pt idx="65">
                  <c:v>Gillette</c:v>
                </c:pt>
                <c:pt idx="66">
                  <c:v>Dollar Shav</c:v>
                </c:pt>
                <c:pt idx="67">
                  <c:v>Gillette</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Schick</c:v>
                </c:pt>
                <c:pt idx="82">
                  <c:v>Harry's</c:v>
                </c:pt>
                <c:pt idx="83">
                  <c:v>Harry's</c:v>
                </c:pt>
                <c:pt idx="84">
                  <c:v>Dollar Shav</c:v>
                </c:pt>
                <c:pt idx="85">
                  <c:v>Dollar Shav</c:v>
                </c:pt>
                <c:pt idx="86">
                  <c:v>Schick</c:v>
                </c:pt>
              </c:strCache>
            </c:strRef>
          </c:cat>
          <c:val>
            <c:numRef>
              <c:f>Sheet1!$C$2:$C$88</c:f>
              <c:numCache>
                <c:formatCode>General</c:formatCode>
                <c:ptCount val="87"/>
                <c:pt idx="0">
                  <c:v>8.2511248256966568E-2</c:v>
                </c:pt>
                <c:pt idx="1">
                  <c:v>0.16089152450644711</c:v>
                </c:pt>
                <c:pt idx="2">
                  <c:v>0.21454090236603462</c:v>
                </c:pt>
                <c:pt idx="3">
                  <c:v>0.2556579646281652</c:v>
                </c:pt>
                <c:pt idx="4">
                  <c:v>0.29593620736965198</c:v>
                </c:pt>
                <c:pt idx="5">
                  <c:v>0.33566438815378236</c:v>
                </c:pt>
                <c:pt idx="6">
                  <c:v>0.37062969751573072</c:v>
                </c:pt>
                <c:pt idx="7">
                  <c:v>0.40357030757243878</c:v>
                </c:pt>
                <c:pt idx="8">
                  <c:v>0.43250144372711291</c:v>
                </c:pt>
                <c:pt idx="9">
                  <c:v>0.45866156412259951</c:v>
                </c:pt>
                <c:pt idx="10">
                  <c:v>0.48200912933668483</c:v>
                </c:pt>
                <c:pt idx="11">
                  <c:v>0.50531722208358543</c:v>
                </c:pt>
                <c:pt idx="12">
                  <c:v>0.52688606474641619</c:v>
                </c:pt>
                <c:pt idx="13">
                  <c:v>0.54639153085300052</c:v>
                </c:pt>
                <c:pt idx="14">
                  <c:v>0.56489851502726984</c:v>
                </c:pt>
                <c:pt idx="15">
                  <c:v>0.58298753114993795</c:v>
                </c:pt>
                <c:pt idx="16">
                  <c:v>0.60098440842705991</c:v>
                </c:pt>
                <c:pt idx="17">
                  <c:v>0.61802645567675352</c:v>
                </c:pt>
                <c:pt idx="18">
                  <c:v>0.63433377781061429</c:v>
                </c:pt>
                <c:pt idx="19">
                  <c:v>0.65000737335367409</c:v>
                </c:pt>
                <c:pt idx="20">
                  <c:v>0.66526226026212665</c:v>
                </c:pt>
                <c:pt idx="21">
                  <c:v>0.68046590428988107</c:v>
                </c:pt>
                <c:pt idx="22">
                  <c:v>0.69446414627937259</c:v>
                </c:pt>
                <c:pt idx="23">
                  <c:v>0.70837072594598993</c:v>
                </c:pt>
                <c:pt idx="24">
                  <c:v>0.72225528540888373</c:v>
                </c:pt>
                <c:pt idx="25">
                  <c:v>0.73611160559190925</c:v>
                </c:pt>
                <c:pt idx="26">
                  <c:v>0.74960504920752191</c:v>
                </c:pt>
                <c:pt idx="27">
                  <c:v>0.7622749827315165</c:v>
                </c:pt>
                <c:pt idx="28">
                  <c:v>0.77477276105837789</c:v>
                </c:pt>
                <c:pt idx="29">
                  <c:v>0.78711618853201271</c:v>
                </c:pt>
                <c:pt idx="30">
                  <c:v>0.79905396166410925</c:v>
                </c:pt>
                <c:pt idx="31">
                  <c:v>0.81078436851934865</c:v>
                </c:pt>
                <c:pt idx="32">
                  <c:v>0.82111755019706523</c:v>
                </c:pt>
                <c:pt idx="33">
                  <c:v>0.83114663149552992</c:v>
                </c:pt>
                <c:pt idx="34">
                  <c:v>0.84112744742120171</c:v>
                </c:pt>
                <c:pt idx="35">
                  <c:v>0.85061046408943664</c:v>
                </c:pt>
                <c:pt idx="36">
                  <c:v>0.85952095546085849</c:v>
                </c:pt>
                <c:pt idx="37">
                  <c:v>0.86840889547271227</c:v>
                </c:pt>
                <c:pt idx="38">
                  <c:v>0.87629024659647625</c:v>
                </c:pt>
                <c:pt idx="39">
                  <c:v>0.88388510439843837</c:v>
                </c:pt>
                <c:pt idx="40">
                  <c:v>0.89109150820269434</c:v>
                </c:pt>
                <c:pt idx="41">
                  <c:v>0.89795681282916073</c:v>
                </c:pt>
                <c:pt idx="42">
                  <c:v>0.90480707208693545</c:v>
                </c:pt>
                <c:pt idx="43">
                  <c:v>0.91163777570410498</c:v>
                </c:pt>
                <c:pt idx="44">
                  <c:v>0.91753509584925752</c:v>
                </c:pt>
                <c:pt idx="45">
                  <c:v>0.92335371690931722</c:v>
                </c:pt>
                <c:pt idx="46">
                  <c:v>0.92878184736840419</c:v>
                </c:pt>
                <c:pt idx="47">
                  <c:v>0.93372534819982089</c:v>
                </c:pt>
                <c:pt idx="48">
                  <c:v>0.93852841142595989</c:v>
                </c:pt>
                <c:pt idx="49">
                  <c:v>0.94292830611991274</c:v>
                </c:pt>
                <c:pt idx="50">
                  <c:v>0.94720457808503555</c:v>
                </c:pt>
                <c:pt idx="51">
                  <c:v>0.95133991164079879</c:v>
                </c:pt>
                <c:pt idx="52">
                  <c:v>0.95508370138942911</c:v>
                </c:pt>
                <c:pt idx="53">
                  <c:v>0.95847811503462488</c:v>
                </c:pt>
                <c:pt idx="54">
                  <c:v>0.96181321526546282</c:v>
                </c:pt>
                <c:pt idx="55">
                  <c:v>0.96509808332929514</c:v>
                </c:pt>
                <c:pt idx="56">
                  <c:v>0.96831202235924518</c:v>
                </c:pt>
                <c:pt idx="57">
                  <c:v>0.97150857893478793</c:v>
                </c:pt>
                <c:pt idx="58">
                  <c:v>0.97462490669640567</c:v>
                </c:pt>
                <c:pt idx="59">
                  <c:v>0.97755458022392439</c:v>
                </c:pt>
                <c:pt idx="60">
                  <c:v>0.98047841407233016</c:v>
                </c:pt>
                <c:pt idx="61">
                  <c:v>0.98323112771870536</c:v>
                </c:pt>
                <c:pt idx="62">
                  <c:v>0.98538770543218679</c:v>
                </c:pt>
                <c:pt idx="63">
                  <c:v>0.98752775964614081</c:v>
                </c:pt>
                <c:pt idx="64">
                  <c:v>0.98936412322963718</c:v>
                </c:pt>
                <c:pt idx="65">
                  <c:v>0.99114520411284113</c:v>
                </c:pt>
                <c:pt idx="66">
                  <c:v>0.99248375022784319</c:v>
                </c:pt>
                <c:pt idx="67">
                  <c:v>0.99376952676849117</c:v>
                </c:pt>
                <c:pt idx="68">
                  <c:v>0.99493357453029185</c:v>
                </c:pt>
                <c:pt idx="69">
                  <c:v>0.99598079228771919</c:v>
                </c:pt>
                <c:pt idx="70">
                  <c:v>0.99697148292258997</c:v>
                </c:pt>
                <c:pt idx="71">
                  <c:v>0.99783000377229925</c:v>
                </c:pt>
                <c:pt idx="72">
                  <c:v>0.99855689206304388</c:v>
                </c:pt>
                <c:pt idx="73">
                  <c:v>0.99892091592708077</c:v>
                </c:pt>
                <c:pt idx="74">
                  <c:v>0.99922789061824535</c:v>
                </c:pt>
                <c:pt idx="75">
                  <c:v>0.99949867083257971</c:v>
                </c:pt>
                <c:pt idx="76">
                  <c:v>0.99962979651710981</c:v>
                </c:pt>
                <c:pt idx="77">
                  <c:v>0.99973616123375886</c:v>
                </c:pt>
                <c:pt idx="78">
                  <c:v>0.99977167279593193</c:v>
                </c:pt>
                <c:pt idx="79">
                  <c:v>0.99979671603520459</c:v>
                </c:pt>
                <c:pt idx="80">
                  <c:v>0.99981800476145088</c:v>
                </c:pt>
                <c:pt idx="81">
                  <c:v>0.99983513529622914</c:v>
                </c:pt>
                <c:pt idx="82">
                  <c:v>0.99986467059635786</c:v>
                </c:pt>
                <c:pt idx="83">
                  <c:v>0.99988957421752289</c:v>
                </c:pt>
                <c:pt idx="84">
                  <c:v>0.99991403773813092</c:v>
                </c:pt>
                <c:pt idx="85">
                  <c:v>0.99994256232456702</c:v>
                </c:pt>
                <c:pt idx="86">
                  <c:v>0.9999463593300609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c:f>
              <c:strCache>
                <c:ptCount val="10"/>
                <c:pt idx="0">
                  <c:v>Gillette</c:v>
                </c:pt>
                <c:pt idx="1">
                  <c:v>Gillette</c:v>
                </c:pt>
                <c:pt idx="2">
                  <c:v>Gillette</c:v>
                </c:pt>
                <c:pt idx="3">
                  <c:v>Harry's</c:v>
                </c:pt>
                <c:pt idx="4">
                  <c:v>Gillette</c:v>
                </c:pt>
                <c:pt idx="5">
                  <c:v>Gillette</c:v>
                </c:pt>
                <c:pt idx="6">
                  <c:v>Gillette</c:v>
                </c:pt>
                <c:pt idx="7">
                  <c:v>Gillette</c:v>
                </c:pt>
                <c:pt idx="8">
                  <c:v>Pbg Pl</c:v>
                </c:pt>
                <c:pt idx="9">
                  <c:v>Dollar Shav</c:v>
                </c:pt>
              </c:strCache>
            </c:strRef>
          </c:cat>
          <c:val>
            <c:numRef>
              <c:f>Sheet1!$B$2:$B$11</c:f>
              <c:numCache>
                <c:formatCode>General</c:formatCode>
                <c:ptCount val="10"/>
                <c:pt idx="0">
                  <c:v>1</c:v>
                </c:pt>
                <c:pt idx="1">
                  <c:v>1</c:v>
                </c:pt>
                <c:pt idx="2">
                  <c:v>0.98</c:v>
                </c:pt>
                <c:pt idx="3">
                  <c:v>0.99</c:v>
                </c:pt>
                <c:pt idx="4">
                  <c:v>0.97</c:v>
                </c:pt>
                <c:pt idx="5">
                  <c:v>0.77</c:v>
                </c:pt>
                <c:pt idx="6">
                  <c:v>0.88</c:v>
                </c:pt>
                <c:pt idx="7">
                  <c:v>0.77</c:v>
                </c:pt>
                <c:pt idx="8">
                  <c:v>0.6</c:v>
                </c:pt>
                <c:pt idx="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c:f>
              <c:strCache>
                <c:ptCount val="10"/>
                <c:pt idx="0">
                  <c:v>Gillette</c:v>
                </c:pt>
                <c:pt idx="1">
                  <c:v>Gillette</c:v>
                </c:pt>
                <c:pt idx="2">
                  <c:v>Gillette</c:v>
                </c:pt>
                <c:pt idx="3">
                  <c:v>Harry's</c:v>
                </c:pt>
                <c:pt idx="4">
                  <c:v>Gillette</c:v>
                </c:pt>
                <c:pt idx="5">
                  <c:v>Gillette</c:v>
                </c:pt>
                <c:pt idx="6">
                  <c:v>Gillette</c:v>
                </c:pt>
                <c:pt idx="7">
                  <c:v>Gillette</c:v>
                </c:pt>
                <c:pt idx="8">
                  <c:v>Pbg Pl</c:v>
                </c:pt>
                <c:pt idx="9">
                  <c:v>Dollar Shav</c:v>
                </c:pt>
              </c:strCache>
            </c:strRef>
          </c:cat>
          <c:val>
            <c:numRef>
              <c:f>Sheet1!$C$2:$C$11</c:f>
              <c:numCache>
                <c:formatCode>General</c:formatCode>
                <c:ptCount val="10"/>
                <c:pt idx="0">
                  <c:v>0.46667755944280054</c:v>
                </c:pt>
                <c:pt idx="1">
                  <c:v>0.68424113397590136</c:v>
                </c:pt>
                <c:pt idx="2">
                  <c:v>0.80846929358877562</c:v>
                </c:pt>
                <c:pt idx="3">
                  <c:v>0.89775799956796209</c:v>
                </c:pt>
                <c:pt idx="4">
                  <c:v>0.95093005634433181</c:v>
                </c:pt>
                <c:pt idx="5">
                  <c:v>0.96990592176356849</c:v>
                </c:pt>
                <c:pt idx="6">
                  <c:v>0.9862233562423961</c:v>
                </c:pt>
                <c:pt idx="7">
                  <c:v>0.99857672524626551</c:v>
                </c:pt>
                <c:pt idx="8">
                  <c:v>0.99998624812724402</c:v>
                </c:pt>
                <c:pt idx="9">
                  <c:v>0.99999828101590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Gillette</c:v>
                </c:pt>
                <c:pt idx="1">
                  <c:v>Gillette</c:v>
                </c:pt>
                <c:pt idx="2">
                  <c:v>Gillette</c:v>
                </c:pt>
                <c:pt idx="3">
                  <c:v>Gillette</c:v>
                </c:pt>
                <c:pt idx="4">
                  <c:v>Gillette</c:v>
                </c:pt>
                <c:pt idx="5">
                  <c:v>Gillette</c:v>
                </c:pt>
                <c:pt idx="6">
                  <c:v>Gillette</c:v>
                </c:pt>
                <c:pt idx="7">
                  <c:v>Gillette</c:v>
                </c:pt>
              </c:strCache>
            </c:strRef>
          </c:cat>
          <c:val>
            <c:numRef>
              <c:f>Sheet1!$B$2:$B$9</c:f>
              <c:numCache>
                <c:formatCode>General</c:formatCode>
                <c:ptCount val="8"/>
                <c:pt idx="0">
                  <c:v>0.94</c:v>
                </c:pt>
                <c:pt idx="1">
                  <c:v>0.94</c:v>
                </c:pt>
                <c:pt idx="2">
                  <c:v>0.91</c:v>
                </c:pt>
                <c:pt idx="3">
                  <c:v>0.8</c:v>
                </c:pt>
                <c:pt idx="4">
                  <c:v>0.63</c:v>
                </c:pt>
                <c:pt idx="5">
                  <c:v>0.27</c:v>
                </c:pt>
                <c:pt idx="6">
                  <c:v>0.66</c:v>
                </c:pt>
                <c:pt idx="7">
                  <c:v>0.1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Gillette</c:v>
                </c:pt>
                <c:pt idx="1">
                  <c:v>Gillette</c:v>
                </c:pt>
                <c:pt idx="2">
                  <c:v>Gillette</c:v>
                </c:pt>
                <c:pt idx="3">
                  <c:v>Gillette</c:v>
                </c:pt>
                <c:pt idx="4">
                  <c:v>Gillette</c:v>
                </c:pt>
                <c:pt idx="5">
                  <c:v>Gillette</c:v>
                </c:pt>
                <c:pt idx="6">
                  <c:v>Gillette</c:v>
                </c:pt>
                <c:pt idx="7">
                  <c:v>Gillette</c:v>
                </c:pt>
              </c:strCache>
            </c:strRef>
          </c:cat>
          <c:val>
            <c:numRef>
              <c:f>Sheet1!$C$2:$C$9</c:f>
              <c:numCache>
                <c:formatCode>General</c:formatCode>
                <c:ptCount val="8"/>
                <c:pt idx="0">
                  <c:v>0.51970930551469863</c:v>
                </c:pt>
                <c:pt idx="1">
                  <c:v>0.73105241901295903</c:v>
                </c:pt>
                <c:pt idx="2">
                  <c:v>0.83574847117417128</c:v>
                </c:pt>
                <c:pt idx="3">
                  <c:v>0.92038732524270495</c:v>
                </c:pt>
                <c:pt idx="4">
                  <c:v>0.98136538314318311</c:v>
                </c:pt>
                <c:pt idx="5">
                  <c:v>0.99092750874745272</c:v>
                </c:pt>
                <c:pt idx="6">
                  <c:v>0.99734671013683796</c:v>
                </c:pt>
                <c:pt idx="7">
                  <c:v>0.9999238945230473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B$2:$B$11</c:f>
              <c:numCache>
                <c:formatCode>General</c:formatCode>
                <c:ptCount val="10"/>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pt idx="8">
                  <c:v>4.0335974829016231E-4</c:v>
                </c:pt>
                <c:pt idx="9">
                  <c:v>8.4438603389384969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C$2:$C$11</c:f>
              <c:numCache>
                <c:formatCode>General</c:formatCode>
                <c:ptCount val="10"/>
                <c:pt idx="0">
                  <c:v>0.49405942618760357</c:v>
                </c:pt>
                <c:pt idx="1">
                  <c:v>0.13840207766712337</c:v>
                </c:pt>
                <c:pt idx="2">
                  <c:v>0.12257418048710662</c:v>
                </c:pt>
                <c:pt idx="3">
                  <c:v>6.1164393366188827E-2</c:v>
                </c:pt>
                <c:pt idx="4">
                  <c:v>6.0223717306394552E-2</c:v>
                </c:pt>
                <c:pt idx="5">
                  <c:v>5.8669556859777927E-2</c:v>
                </c:pt>
                <c:pt idx="6">
                  <c:v>3.0265229749902867E-2</c:v>
                </c:pt>
                <c:pt idx="7">
                  <c:v>3.0940062575407455E-2</c:v>
                </c:pt>
                <c:pt idx="8">
                  <c:v>3.7013558004948778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D$2:$D$11</c:f>
              <c:numCache>
                <c:formatCode>General</c:formatCode>
                <c:ptCount val="10"/>
                <c:pt idx="0">
                  <c:v>0.85680741036046093</c:v>
                </c:pt>
                <c:pt idx="1">
                  <c:v>0.66042717898672021</c:v>
                </c:pt>
                <c:pt idx="2">
                  <c:v>1.8364722179413804</c:v>
                </c:pt>
                <c:pt idx="3">
                  <c:v>1.3852861651114534</c:v>
                </c:pt>
                <c:pt idx="4">
                  <c:v>1.5548482524877438</c:v>
                </c:pt>
                <c:pt idx="5">
                  <c:v>1.9499419521000017</c:v>
                </c:pt>
                <c:pt idx="6">
                  <c:v>1.6941156249905365</c:v>
                </c:pt>
                <c:pt idx="7">
                  <c:v>1.9566833760959996</c:v>
                </c:pt>
                <c:pt idx="8">
                  <c:v>9.1763142360755765</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7</c:f>
              <c:strCache>
                <c:ptCount val="86"/>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pt idx="11">
                  <c:v>Harry's</c:v>
                </c:pt>
                <c:pt idx="12">
                  <c:v>Gillette</c:v>
                </c:pt>
                <c:pt idx="13">
                  <c:v>Harry's</c:v>
                </c:pt>
                <c:pt idx="14">
                  <c:v>Gillette</c:v>
                </c:pt>
                <c:pt idx="15">
                  <c:v>Harry's</c:v>
                </c:pt>
                <c:pt idx="16">
                  <c:v>Gillette</c:v>
                </c:pt>
                <c:pt idx="17">
                  <c:v>Gillette</c:v>
                </c:pt>
                <c:pt idx="18">
                  <c:v>Schick</c:v>
                </c:pt>
                <c:pt idx="19">
                  <c:v>Gillette</c:v>
                </c:pt>
                <c:pt idx="20">
                  <c:v>Gillette</c:v>
                </c:pt>
                <c:pt idx="21">
                  <c:v>Bic</c:v>
                </c:pt>
                <c:pt idx="22">
                  <c:v>Bic</c:v>
                </c:pt>
                <c:pt idx="23">
                  <c:v>Gillette</c:v>
                </c:pt>
                <c:pt idx="24">
                  <c:v>Harry's</c:v>
                </c:pt>
                <c:pt idx="25">
                  <c:v>Schick</c:v>
                </c:pt>
                <c:pt idx="26">
                  <c:v>Equate</c:v>
                </c:pt>
                <c:pt idx="27">
                  <c:v>Bic</c:v>
                </c:pt>
                <c:pt idx="28">
                  <c:v>Dollar Shav</c:v>
                </c:pt>
                <c:pt idx="29">
                  <c:v>Gillette</c:v>
                </c:pt>
                <c:pt idx="30">
                  <c:v>Gillette</c:v>
                </c:pt>
                <c:pt idx="31">
                  <c:v>Dollar Shav</c:v>
                </c:pt>
                <c:pt idx="32">
                  <c:v>Bic</c:v>
                </c:pt>
                <c:pt idx="33">
                  <c:v>Comfort 3</c:v>
                </c:pt>
                <c:pt idx="34">
                  <c:v>Van Der Hag</c:v>
                </c:pt>
                <c:pt idx="35">
                  <c:v>Van Der Hag</c:v>
                </c:pt>
                <c:pt idx="36">
                  <c:v>Dollar Shav</c:v>
                </c:pt>
                <c:pt idx="37">
                  <c:v>Comfort 3</c:v>
                </c:pt>
                <c:pt idx="38">
                  <c:v>Schick</c:v>
                </c:pt>
                <c:pt idx="39">
                  <c:v>Gillette</c:v>
                </c:pt>
                <c:pt idx="40">
                  <c:v>Gillette</c:v>
                </c:pt>
                <c:pt idx="41">
                  <c:v>Gillette</c:v>
                </c:pt>
                <c:pt idx="42">
                  <c:v>Equate</c:v>
                </c:pt>
                <c:pt idx="43">
                  <c:v>Equate</c:v>
                </c:pt>
                <c:pt idx="44">
                  <c:v>Gillette</c:v>
                </c:pt>
                <c:pt idx="45">
                  <c:v>Gillette</c:v>
                </c:pt>
                <c:pt idx="46">
                  <c:v>Gillette</c:v>
                </c:pt>
                <c:pt idx="47">
                  <c:v>Gillette</c:v>
                </c:pt>
                <c:pt idx="48">
                  <c:v>Gillette</c:v>
                </c:pt>
                <c:pt idx="49">
                  <c:v>Bic</c:v>
                </c:pt>
                <c:pt idx="50">
                  <c:v>Harry's</c:v>
                </c:pt>
                <c:pt idx="51">
                  <c:v>Gillette</c:v>
                </c:pt>
                <c:pt idx="52">
                  <c:v>Gillette</c:v>
                </c:pt>
                <c:pt idx="53">
                  <c:v>Gillette</c:v>
                </c:pt>
                <c:pt idx="54">
                  <c:v>Gillette</c:v>
                </c:pt>
                <c:pt idx="55">
                  <c:v>Equate</c:v>
                </c:pt>
                <c:pt idx="56">
                  <c:v>Harry's</c:v>
                </c:pt>
                <c:pt idx="57">
                  <c:v>Gillette</c:v>
                </c:pt>
                <c:pt idx="58">
                  <c:v>Harry's</c:v>
                </c:pt>
                <c:pt idx="59">
                  <c:v>Gillette</c:v>
                </c:pt>
                <c:pt idx="60">
                  <c:v>Gillette</c:v>
                </c:pt>
                <c:pt idx="61">
                  <c:v>Dollar Shav</c:v>
                </c:pt>
                <c:pt idx="62">
                  <c:v>Bic</c:v>
                </c:pt>
                <c:pt idx="63">
                  <c:v>Gillette</c:v>
                </c:pt>
                <c:pt idx="64">
                  <c:v>Gillette</c:v>
                </c:pt>
                <c:pt idx="65">
                  <c:v>Gillette</c:v>
                </c:pt>
                <c:pt idx="66">
                  <c:v>Gillette</c:v>
                </c:pt>
                <c:pt idx="67">
                  <c:v>Gillette</c:v>
                </c:pt>
                <c:pt idx="68">
                  <c:v>Gillette</c:v>
                </c:pt>
                <c:pt idx="69">
                  <c:v>Schick</c:v>
                </c:pt>
                <c:pt idx="70">
                  <c:v>Schick</c:v>
                </c:pt>
                <c:pt idx="71">
                  <c:v>Schick</c:v>
                </c:pt>
                <c:pt idx="72">
                  <c:v>Gillette</c:v>
                </c:pt>
                <c:pt idx="73">
                  <c:v>Bic</c:v>
                </c:pt>
                <c:pt idx="74">
                  <c:v>Cremo</c:v>
                </c:pt>
                <c:pt idx="75">
                  <c:v>Bic</c:v>
                </c:pt>
                <c:pt idx="76">
                  <c:v>Cremo</c:v>
                </c:pt>
                <c:pt idx="77">
                  <c:v>Bic</c:v>
                </c:pt>
                <c:pt idx="78">
                  <c:v>Harry's</c:v>
                </c:pt>
                <c:pt idx="79">
                  <c:v>Comfort 3</c:v>
                </c:pt>
                <c:pt idx="80">
                  <c:v>Schick</c:v>
                </c:pt>
                <c:pt idx="81">
                  <c:v>Bic</c:v>
                </c:pt>
                <c:pt idx="82">
                  <c:v>Harry's</c:v>
                </c:pt>
                <c:pt idx="83">
                  <c:v>Schick</c:v>
                </c:pt>
                <c:pt idx="84">
                  <c:v>Dollar Shav</c:v>
                </c:pt>
                <c:pt idx="85">
                  <c:v>Dollar Shav</c:v>
                </c:pt>
              </c:strCache>
            </c:strRef>
          </c:cat>
          <c:val>
            <c:numRef>
              <c:f>Sheet1!$B$2:$B$87</c:f>
              <c:numCache>
                <c:formatCode>General</c:formatCode>
                <c:ptCount val="86"/>
                <c:pt idx="0">
                  <c:v>0.99</c:v>
                </c:pt>
                <c:pt idx="1">
                  <c:v>0.99</c:v>
                </c:pt>
                <c:pt idx="2">
                  <c:v>0.99</c:v>
                </c:pt>
                <c:pt idx="3">
                  <c:v>0.88</c:v>
                </c:pt>
                <c:pt idx="4">
                  <c:v>0.93</c:v>
                </c:pt>
                <c:pt idx="5">
                  <c:v>0.9</c:v>
                </c:pt>
                <c:pt idx="6">
                  <c:v>0.87</c:v>
                </c:pt>
                <c:pt idx="7">
                  <c:v>0.52</c:v>
                </c:pt>
                <c:pt idx="8">
                  <c:v>0.95</c:v>
                </c:pt>
                <c:pt idx="9">
                  <c:v>0.79</c:v>
                </c:pt>
                <c:pt idx="10">
                  <c:v>0.9</c:v>
                </c:pt>
                <c:pt idx="11">
                  <c:v>0.74</c:v>
                </c:pt>
                <c:pt idx="12">
                  <c:v>0.76</c:v>
                </c:pt>
                <c:pt idx="13">
                  <c:v>0.75</c:v>
                </c:pt>
                <c:pt idx="14">
                  <c:v>0.68</c:v>
                </c:pt>
                <c:pt idx="15">
                  <c:v>0.88</c:v>
                </c:pt>
                <c:pt idx="16">
                  <c:v>0.73</c:v>
                </c:pt>
                <c:pt idx="17">
                  <c:v>0.67</c:v>
                </c:pt>
                <c:pt idx="18">
                  <c:v>0.79</c:v>
                </c:pt>
                <c:pt idx="19">
                  <c:v>0.54</c:v>
                </c:pt>
                <c:pt idx="20">
                  <c:v>0.53</c:v>
                </c:pt>
                <c:pt idx="21">
                  <c:v>0.92</c:v>
                </c:pt>
                <c:pt idx="22">
                  <c:v>0.8</c:v>
                </c:pt>
                <c:pt idx="23">
                  <c:v>0.69</c:v>
                </c:pt>
                <c:pt idx="24">
                  <c:v>0.8</c:v>
                </c:pt>
                <c:pt idx="25">
                  <c:v>0.83</c:v>
                </c:pt>
                <c:pt idx="26">
                  <c:v>0.83</c:v>
                </c:pt>
                <c:pt idx="27">
                  <c:v>0.59</c:v>
                </c:pt>
                <c:pt idx="28">
                  <c:v>0.84</c:v>
                </c:pt>
                <c:pt idx="29">
                  <c:v>0.32</c:v>
                </c:pt>
                <c:pt idx="30">
                  <c:v>0.54</c:v>
                </c:pt>
                <c:pt idx="31">
                  <c:v>0.83</c:v>
                </c:pt>
                <c:pt idx="32">
                  <c:v>0.89</c:v>
                </c:pt>
                <c:pt idx="33">
                  <c:v>0.84</c:v>
                </c:pt>
                <c:pt idx="34">
                  <c:v>0.54</c:v>
                </c:pt>
                <c:pt idx="35">
                  <c:v>0.8</c:v>
                </c:pt>
                <c:pt idx="36">
                  <c:v>0.47</c:v>
                </c:pt>
                <c:pt idx="37">
                  <c:v>0.65</c:v>
                </c:pt>
                <c:pt idx="38">
                  <c:v>0.31</c:v>
                </c:pt>
                <c:pt idx="39">
                  <c:v>0.52</c:v>
                </c:pt>
                <c:pt idx="40">
                  <c:v>0.6</c:v>
                </c:pt>
                <c:pt idx="41">
                  <c:v>0.44</c:v>
                </c:pt>
                <c:pt idx="42">
                  <c:v>0.7</c:v>
                </c:pt>
                <c:pt idx="43">
                  <c:v>0.54</c:v>
                </c:pt>
                <c:pt idx="44">
                  <c:v>0.31</c:v>
                </c:pt>
                <c:pt idx="45">
                  <c:v>0.33</c:v>
                </c:pt>
                <c:pt idx="46">
                  <c:v>0.4</c:v>
                </c:pt>
                <c:pt idx="47">
                  <c:v>0.43</c:v>
                </c:pt>
                <c:pt idx="48">
                  <c:v>0.23</c:v>
                </c:pt>
                <c:pt idx="49">
                  <c:v>0.77</c:v>
                </c:pt>
                <c:pt idx="50">
                  <c:v>0.31</c:v>
                </c:pt>
                <c:pt idx="51">
                  <c:v>0.54</c:v>
                </c:pt>
                <c:pt idx="52">
                  <c:v>0.17</c:v>
                </c:pt>
                <c:pt idx="53">
                  <c:v>0.34</c:v>
                </c:pt>
                <c:pt idx="54">
                  <c:v>0.24</c:v>
                </c:pt>
                <c:pt idx="55">
                  <c:v>0.67</c:v>
                </c:pt>
                <c:pt idx="56">
                  <c:v>0.56999999999999995</c:v>
                </c:pt>
                <c:pt idx="57">
                  <c:v>0.59</c:v>
                </c:pt>
                <c:pt idx="58">
                  <c:v>0.14000000000000001</c:v>
                </c:pt>
                <c:pt idx="59">
                  <c:v>0.28000000000000003</c:v>
                </c:pt>
                <c:pt idx="60">
                  <c:v>0.4</c:v>
                </c:pt>
                <c:pt idx="61">
                  <c:v>0.62</c:v>
                </c:pt>
                <c:pt idx="62">
                  <c:v>0.61</c:v>
                </c:pt>
                <c:pt idx="63">
                  <c:v>0.19</c:v>
                </c:pt>
                <c:pt idx="64">
                  <c:v>0.28999999999999998</c:v>
                </c:pt>
                <c:pt idx="65">
                  <c:v>0.26</c:v>
                </c:pt>
                <c:pt idx="66">
                  <c:v>0.15</c:v>
                </c:pt>
                <c:pt idx="67">
                  <c:v>0.14000000000000001</c:v>
                </c:pt>
                <c:pt idx="68">
                  <c:v>0.05</c:v>
                </c:pt>
                <c:pt idx="69">
                  <c:v>0.05</c:v>
                </c:pt>
                <c:pt idx="70">
                  <c:v>0.04</c:v>
                </c:pt>
                <c:pt idx="71">
                  <c:v>0.04</c:v>
                </c:pt>
                <c:pt idx="72">
                  <c:v>0.05</c:v>
                </c:pt>
                <c:pt idx="73">
                  <c:v>0.03</c:v>
                </c:pt>
                <c:pt idx="74">
                  <c:v>0.05</c:v>
                </c:pt>
                <c:pt idx="75">
                  <c:v>0.04</c:v>
                </c:pt>
                <c:pt idx="76">
                  <c:v>0.04</c:v>
                </c:pt>
                <c:pt idx="77">
                  <c:v>0.02</c:v>
                </c:pt>
                <c:pt idx="78">
                  <c:v>0.01</c:v>
                </c:pt>
                <c:pt idx="79">
                  <c:v>0.01</c:v>
                </c:pt>
                <c:pt idx="80">
                  <c:v>0.01</c:v>
                </c:pt>
                <c:pt idx="81">
                  <c:v>0.01</c:v>
                </c:pt>
                <c:pt idx="82">
                  <c:v>0.01</c:v>
                </c:pt>
                <c:pt idx="83">
                  <c:v>0.01</c:v>
                </c:pt>
                <c:pt idx="84">
                  <c:v>0.01</c:v>
                </c:pt>
                <c:pt idx="8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7</c:f>
              <c:strCache>
                <c:ptCount val="86"/>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pt idx="11">
                  <c:v>Harry's</c:v>
                </c:pt>
                <c:pt idx="12">
                  <c:v>Gillette</c:v>
                </c:pt>
                <c:pt idx="13">
                  <c:v>Harry's</c:v>
                </c:pt>
                <c:pt idx="14">
                  <c:v>Gillette</c:v>
                </c:pt>
                <c:pt idx="15">
                  <c:v>Harry's</c:v>
                </c:pt>
                <c:pt idx="16">
                  <c:v>Gillette</c:v>
                </c:pt>
                <c:pt idx="17">
                  <c:v>Gillette</c:v>
                </c:pt>
                <c:pt idx="18">
                  <c:v>Schick</c:v>
                </c:pt>
                <c:pt idx="19">
                  <c:v>Gillette</c:v>
                </c:pt>
                <c:pt idx="20">
                  <c:v>Gillette</c:v>
                </c:pt>
                <c:pt idx="21">
                  <c:v>Bic</c:v>
                </c:pt>
                <c:pt idx="22">
                  <c:v>Bic</c:v>
                </c:pt>
                <c:pt idx="23">
                  <c:v>Gillette</c:v>
                </c:pt>
                <c:pt idx="24">
                  <c:v>Harry's</c:v>
                </c:pt>
                <c:pt idx="25">
                  <c:v>Schick</c:v>
                </c:pt>
                <c:pt idx="26">
                  <c:v>Equate</c:v>
                </c:pt>
                <c:pt idx="27">
                  <c:v>Bic</c:v>
                </c:pt>
                <c:pt idx="28">
                  <c:v>Dollar Shav</c:v>
                </c:pt>
                <c:pt idx="29">
                  <c:v>Gillette</c:v>
                </c:pt>
                <c:pt idx="30">
                  <c:v>Gillette</c:v>
                </c:pt>
                <c:pt idx="31">
                  <c:v>Dollar Shav</c:v>
                </c:pt>
                <c:pt idx="32">
                  <c:v>Bic</c:v>
                </c:pt>
                <c:pt idx="33">
                  <c:v>Comfort 3</c:v>
                </c:pt>
                <c:pt idx="34">
                  <c:v>Van Der Hag</c:v>
                </c:pt>
                <c:pt idx="35">
                  <c:v>Van Der Hag</c:v>
                </c:pt>
                <c:pt idx="36">
                  <c:v>Dollar Shav</c:v>
                </c:pt>
                <c:pt idx="37">
                  <c:v>Comfort 3</c:v>
                </c:pt>
                <c:pt idx="38">
                  <c:v>Schick</c:v>
                </c:pt>
                <c:pt idx="39">
                  <c:v>Gillette</c:v>
                </c:pt>
                <c:pt idx="40">
                  <c:v>Gillette</c:v>
                </c:pt>
                <c:pt idx="41">
                  <c:v>Gillette</c:v>
                </c:pt>
                <c:pt idx="42">
                  <c:v>Equate</c:v>
                </c:pt>
                <c:pt idx="43">
                  <c:v>Equate</c:v>
                </c:pt>
                <c:pt idx="44">
                  <c:v>Gillette</c:v>
                </c:pt>
                <c:pt idx="45">
                  <c:v>Gillette</c:v>
                </c:pt>
                <c:pt idx="46">
                  <c:v>Gillette</c:v>
                </c:pt>
                <c:pt idx="47">
                  <c:v>Gillette</c:v>
                </c:pt>
                <c:pt idx="48">
                  <c:v>Gillette</c:v>
                </c:pt>
                <c:pt idx="49">
                  <c:v>Bic</c:v>
                </c:pt>
                <c:pt idx="50">
                  <c:v>Harry's</c:v>
                </c:pt>
                <c:pt idx="51">
                  <c:v>Gillette</c:v>
                </c:pt>
                <c:pt idx="52">
                  <c:v>Gillette</c:v>
                </c:pt>
                <c:pt idx="53">
                  <c:v>Gillette</c:v>
                </c:pt>
                <c:pt idx="54">
                  <c:v>Gillette</c:v>
                </c:pt>
                <c:pt idx="55">
                  <c:v>Equate</c:v>
                </c:pt>
                <c:pt idx="56">
                  <c:v>Harry's</c:v>
                </c:pt>
                <c:pt idx="57">
                  <c:v>Gillette</c:v>
                </c:pt>
                <c:pt idx="58">
                  <c:v>Harry's</c:v>
                </c:pt>
                <c:pt idx="59">
                  <c:v>Gillette</c:v>
                </c:pt>
                <c:pt idx="60">
                  <c:v>Gillette</c:v>
                </c:pt>
                <c:pt idx="61">
                  <c:v>Dollar Shav</c:v>
                </c:pt>
                <c:pt idx="62">
                  <c:v>Bic</c:v>
                </c:pt>
                <c:pt idx="63">
                  <c:v>Gillette</c:v>
                </c:pt>
                <c:pt idx="64">
                  <c:v>Gillette</c:v>
                </c:pt>
                <c:pt idx="65">
                  <c:v>Gillette</c:v>
                </c:pt>
                <c:pt idx="66">
                  <c:v>Gillette</c:v>
                </c:pt>
                <c:pt idx="67">
                  <c:v>Gillette</c:v>
                </c:pt>
                <c:pt idx="68">
                  <c:v>Gillette</c:v>
                </c:pt>
                <c:pt idx="69">
                  <c:v>Schick</c:v>
                </c:pt>
                <c:pt idx="70">
                  <c:v>Schick</c:v>
                </c:pt>
                <c:pt idx="71">
                  <c:v>Schick</c:v>
                </c:pt>
                <c:pt idx="72">
                  <c:v>Gillette</c:v>
                </c:pt>
                <c:pt idx="73">
                  <c:v>Bic</c:v>
                </c:pt>
                <c:pt idx="74">
                  <c:v>Cremo</c:v>
                </c:pt>
                <c:pt idx="75">
                  <c:v>Bic</c:v>
                </c:pt>
                <c:pt idx="76">
                  <c:v>Cremo</c:v>
                </c:pt>
                <c:pt idx="77">
                  <c:v>Bic</c:v>
                </c:pt>
                <c:pt idx="78">
                  <c:v>Harry's</c:v>
                </c:pt>
                <c:pt idx="79">
                  <c:v>Comfort 3</c:v>
                </c:pt>
                <c:pt idx="80">
                  <c:v>Schick</c:v>
                </c:pt>
                <c:pt idx="81">
                  <c:v>Bic</c:v>
                </c:pt>
                <c:pt idx="82">
                  <c:v>Harry's</c:v>
                </c:pt>
                <c:pt idx="83">
                  <c:v>Schick</c:v>
                </c:pt>
                <c:pt idx="84">
                  <c:v>Dollar Shav</c:v>
                </c:pt>
                <c:pt idx="85">
                  <c:v>Dollar Shav</c:v>
                </c:pt>
              </c:strCache>
            </c:strRef>
          </c:cat>
          <c:val>
            <c:numRef>
              <c:f>Sheet1!$C$2:$C$87</c:f>
              <c:numCache>
                <c:formatCode>General</c:formatCode>
                <c:ptCount val="86"/>
                <c:pt idx="0">
                  <c:v>8.646662988475308E-2</c:v>
                </c:pt>
                <c:pt idx="1">
                  <c:v>0.15268420210872241</c:v>
                </c:pt>
                <c:pt idx="2">
                  <c:v>0.2057540141463296</c:v>
                </c:pt>
                <c:pt idx="3">
                  <c:v>0.25606316648951677</c:v>
                </c:pt>
                <c:pt idx="4">
                  <c:v>0.30479130921559483</c:v>
                </c:pt>
                <c:pt idx="5">
                  <c:v>0.34455844378652534</c:v>
                </c:pt>
                <c:pt idx="6">
                  <c:v>0.3822268336891258</c:v>
                </c:pt>
                <c:pt idx="7">
                  <c:v>0.41957244799920634</c:v>
                </c:pt>
                <c:pt idx="8">
                  <c:v>0.45644876235206261</c:v>
                </c:pt>
                <c:pt idx="9">
                  <c:v>0.48444818525706074</c:v>
                </c:pt>
                <c:pt idx="10">
                  <c:v>0.5080472353290546</c:v>
                </c:pt>
                <c:pt idx="11">
                  <c:v>0.52923104810495702</c:v>
                </c:pt>
                <c:pt idx="12">
                  <c:v>0.55020236538619061</c:v>
                </c:pt>
                <c:pt idx="13">
                  <c:v>0.57024436653672339</c:v>
                </c:pt>
                <c:pt idx="14">
                  <c:v>0.58925914983703442</c:v>
                </c:pt>
                <c:pt idx="15">
                  <c:v>0.60804118211449987</c:v>
                </c:pt>
                <c:pt idx="16">
                  <c:v>0.62545455960613494</c:v>
                </c:pt>
                <c:pt idx="17">
                  <c:v>0.6424564497938835</c:v>
                </c:pt>
                <c:pt idx="18">
                  <c:v>0.65934740345462717</c:v>
                </c:pt>
                <c:pt idx="19">
                  <c:v>0.67611851190699179</c:v>
                </c:pt>
                <c:pt idx="20">
                  <c:v>0.69288282162883419</c:v>
                </c:pt>
                <c:pt idx="21">
                  <c:v>0.70868593151821602</c:v>
                </c:pt>
                <c:pt idx="22">
                  <c:v>0.7238746706073671</c:v>
                </c:pt>
                <c:pt idx="23">
                  <c:v>0.73854717505479184</c:v>
                </c:pt>
                <c:pt idx="24">
                  <c:v>0.75207036582937403</c:v>
                </c:pt>
                <c:pt idx="25">
                  <c:v>0.76543849866025149</c:v>
                </c:pt>
                <c:pt idx="26">
                  <c:v>0.77875355450525841</c:v>
                </c:pt>
                <c:pt idx="27">
                  <c:v>0.79157811710893022</c:v>
                </c:pt>
                <c:pt idx="28">
                  <c:v>0.80428480379168477</c:v>
                </c:pt>
                <c:pt idx="29">
                  <c:v>0.81678729411978723</c:v>
                </c:pt>
                <c:pt idx="30">
                  <c:v>0.82899940832289321</c:v>
                </c:pt>
                <c:pt idx="31">
                  <c:v>0.84041424243082075</c:v>
                </c:pt>
                <c:pt idx="32">
                  <c:v>0.85049966683876033</c:v>
                </c:pt>
                <c:pt idx="33">
                  <c:v>0.85992589571281886</c:v>
                </c:pt>
                <c:pt idx="34">
                  <c:v>0.86833958261702437</c:v>
                </c:pt>
                <c:pt idx="35">
                  <c:v>0.87661255924331705</c:v>
                </c:pt>
                <c:pt idx="36">
                  <c:v>0.88463881228334595</c:v>
                </c:pt>
                <c:pt idx="37">
                  <c:v>0.89235766892817436</c:v>
                </c:pt>
                <c:pt idx="38">
                  <c:v>0.90002560542578069</c:v>
                </c:pt>
                <c:pt idx="39">
                  <c:v>0.90763962095717576</c:v>
                </c:pt>
                <c:pt idx="40">
                  <c:v>0.91514284062495599</c:v>
                </c:pt>
                <c:pt idx="41">
                  <c:v>0.92245250746793639</c:v>
                </c:pt>
                <c:pt idx="42">
                  <c:v>0.92964875273068648</c:v>
                </c:pt>
                <c:pt idx="43">
                  <c:v>0.93629430082113174</c:v>
                </c:pt>
                <c:pt idx="44">
                  <c:v>0.94230269064214744</c:v>
                </c:pt>
                <c:pt idx="45">
                  <c:v>0.94816319635235435</c:v>
                </c:pt>
                <c:pt idx="46">
                  <c:v>0.95286125980664116</c:v>
                </c:pt>
                <c:pt idx="47">
                  <c:v>0.9572086025415717</c:v>
                </c:pt>
                <c:pt idx="48">
                  <c:v>0.96093055584404563</c:v>
                </c:pt>
                <c:pt idx="49">
                  <c:v>0.9645203793354038</c:v>
                </c:pt>
                <c:pt idx="50">
                  <c:v>0.96809604271215699</c:v>
                </c:pt>
                <c:pt idx="51">
                  <c:v>0.97162167680982547</c:v>
                </c:pt>
                <c:pt idx="52">
                  <c:v>0.97461372778098665</c:v>
                </c:pt>
                <c:pt idx="53">
                  <c:v>0.97730841634544219</c:v>
                </c:pt>
                <c:pt idx="54">
                  <c:v>0.97978188828504176</c:v>
                </c:pt>
                <c:pt idx="55">
                  <c:v>0.98212248020877824</c:v>
                </c:pt>
                <c:pt idx="56">
                  <c:v>0.98435710571196045</c:v>
                </c:pt>
                <c:pt idx="57">
                  <c:v>0.98659060590802172</c:v>
                </c:pt>
                <c:pt idx="58">
                  <c:v>0.98844759709653873</c:v>
                </c:pt>
                <c:pt idx="59">
                  <c:v>0.99011558357653628</c:v>
                </c:pt>
                <c:pt idx="60">
                  <c:v>0.99173349388965248</c:v>
                </c:pt>
                <c:pt idx="61">
                  <c:v>0.99300330920002788</c:v>
                </c:pt>
                <c:pt idx="62">
                  <c:v>0.9940589410550531</c:v>
                </c:pt>
                <c:pt idx="63">
                  <c:v>0.99503622340178355</c:v>
                </c:pt>
                <c:pt idx="64">
                  <c:v>0.99596239805010511</c:v>
                </c:pt>
                <c:pt idx="65">
                  <c:v>0.9968725839597502</c:v>
                </c:pt>
                <c:pt idx="66">
                  <c:v>0.9975664764631933</c:v>
                </c:pt>
                <c:pt idx="67">
                  <c:v>0.99811829894261905</c:v>
                </c:pt>
                <c:pt idx="68">
                  <c:v>0.99845054587007342</c:v>
                </c:pt>
                <c:pt idx="69">
                  <c:v>0.99868479730241355</c:v>
                </c:pt>
                <c:pt idx="70">
                  <c:v>0.99889011896418645</c:v>
                </c:pt>
                <c:pt idx="71">
                  <c:v>0.99908812612967335</c:v>
                </c:pt>
                <c:pt idx="72">
                  <c:v>0.99925987612900524</c:v>
                </c:pt>
                <c:pt idx="73">
                  <c:v>0.99943078214799641</c:v>
                </c:pt>
                <c:pt idx="74">
                  <c:v>0.99954157801161125</c:v>
                </c:pt>
                <c:pt idx="75">
                  <c:v>0.99964974815861063</c:v>
                </c:pt>
                <c:pt idx="76">
                  <c:v>0.99970610729025056</c:v>
                </c:pt>
                <c:pt idx="77">
                  <c:v>0.9997594656029013</c:v>
                </c:pt>
                <c:pt idx="78">
                  <c:v>0.99978398792057821</c:v>
                </c:pt>
                <c:pt idx="79">
                  <c:v>0.99980771314571115</c:v>
                </c:pt>
                <c:pt idx="80">
                  <c:v>0.99982862510304171</c:v>
                </c:pt>
                <c:pt idx="81">
                  <c:v>0.99988024856721425</c:v>
                </c:pt>
                <c:pt idx="82">
                  <c:v>0.99989478378419294</c:v>
                </c:pt>
                <c:pt idx="83">
                  <c:v>0.99991593018050706</c:v>
                </c:pt>
                <c:pt idx="84">
                  <c:v>0.99994181224428835</c:v>
                </c:pt>
                <c:pt idx="85">
                  <c:v>0.9999595827192397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c:f>
              <c:strCache>
                <c:ptCount val="55"/>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Harry's</c:v>
                </c:pt>
                <c:pt idx="13">
                  <c:v>Schick</c:v>
                </c:pt>
                <c:pt idx="14">
                  <c:v>Bic</c:v>
                </c:pt>
                <c:pt idx="15">
                  <c:v>Bic</c:v>
                </c:pt>
                <c:pt idx="16">
                  <c:v>Equate</c:v>
                </c:pt>
                <c:pt idx="17">
                  <c:v>Harry's</c:v>
                </c:pt>
                <c:pt idx="18">
                  <c:v>Dollar Shav</c:v>
                </c:pt>
                <c:pt idx="19">
                  <c:v>Dollar Shav</c:v>
                </c:pt>
                <c:pt idx="20">
                  <c:v>Schick</c:v>
                </c:pt>
                <c:pt idx="21">
                  <c:v>Harry's</c:v>
                </c:pt>
                <c:pt idx="22">
                  <c:v>Harry's</c:v>
                </c:pt>
                <c:pt idx="23">
                  <c:v>Gillette</c:v>
                </c:pt>
                <c:pt idx="24">
                  <c:v>Gillette</c:v>
                </c:pt>
                <c:pt idx="25">
                  <c:v>Gillette</c:v>
                </c:pt>
                <c:pt idx="26">
                  <c:v>Bic</c:v>
                </c:pt>
                <c:pt idx="27">
                  <c:v>Gillette</c:v>
                </c:pt>
                <c:pt idx="28">
                  <c:v>Comfort 3</c:v>
                </c:pt>
                <c:pt idx="29">
                  <c:v>Gillette</c:v>
                </c:pt>
                <c:pt idx="30">
                  <c:v>Gillette</c:v>
                </c:pt>
                <c:pt idx="31">
                  <c:v>Equate</c:v>
                </c:pt>
                <c:pt idx="32">
                  <c:v>Gillette</c:v>
                </c:pt>
                <c:pt idx="33">
                  <c:v>Gillette</c:v>
                </c:pt>
                <c:pt idx="34">
                  <c:v>Dollar Shav</c:v>
                </c:pt>
                <c:pt idx="35">
                  <c:v>Equate</c:v>
                </c:pt>
                <c:pt idx="36">
                  <c:v>Gillette</c:v>
                </c:pt>
                <c:pt idx="37">
                  <c:v>Gillette</c:v>
                </c:pt>
                <c:pt idx="38">
                  <c:v>Gillette</c:v>
                </c:pt>
                <c:pt idx="39">
                  <c:v>Gillette</c:v>
                </c:pt>
                <c:pt idx="40">
                  <c:v>Bic</c:v>
                </c:pt>
                <c:pt idx="41">
                  <c:v>Gillette</c:v>
                </c:pt>
                <c:pt idx="42">
                  <c:v>Gillette</c:v>
                </c:pt>
                <c:pt idx="43">
                  <c:v>Equate</c:v>
                </c:pt>
                <c:pt idx="44">
                  <c:v>Gillette</c:v>
                </c:pt>
                <c:pt idx="45">
                  <c:v>Gillette</c:v>
                </c:pt>
                <c:pt idx="46">
                  <c:v>Harry's</c:v>
                </c:pt>
                <c:pt idx="47">
                  <c:v>Gillette</c:v>
                </c:pt>
                <c:pt idx="48">
                  <c:v>Dollar Shav</c:v>
                </c:pt>
                <c:pt idx="49">
                  <c:v>Bic</c:v>
                </c:pt>
                <c:pt idx="50">
                  <c:v>Van Der Hag</c:v>
                </c:pt>
                <c:pt idx="51">
                  <c:v>Van Der Hag</c:v>
                </c:pt>
                <c:pt idx="52">
                  <c:v>Bic</c:v>
                </c:pt>
                <c:pt idx="53">
                  <c:v>Schick</c:v>
                </c:pt>
                <c:pt idx="54">
                  <c:v>Harry's</c:v>
                </c:pt>
              </c:strCache>
            </c:strRef>
          </c:cat>
          <c:val>
            <c:numRef>
              <c:f>Sheet1!$B$2:$B$56</c:f>
              <c:numCache>
                <c:formatCode>General</c:formatCode>
                <c:ptCount val="55"/>
                <c:pt idx="0">
                  <c:v>0.93</c:v>
                </c:pt>
                <c:pt idx="1">
                  <c:v>0.95</c:v>
                </c:pt>
                <c:pt idx="2">
                  <c:v>0.91</c:v>
                </c:pt>
                <c:pt idx="3">
                  <c:v>0.76</c:v>
                </c:pt>
                <c:pt idx="4">
                  <c:v>0.55000000000000004</c:v>
                </c:pt>
                <c:pt idx="5">
                  <c:v>0.79</c:v>
                </c:pt>
                <c:pt idx="6">
                  <c:v>0.66</c:v>
                </c:pt>
                <c:pt idx="7">
                  <c:v>0.56999999999999995</c:v>
                </c:pt>
                <c:pt idx="8">
                  <c:v>0.57999999999999996</c:v>
                </c:pt>
                <c:pt idx="9">
                  <c:v>0.28000000000000003</c:v>
                </c:pt>
                <c:pt idx="10">
                  <c:v>0.71</c:v>
                </c:pt>
                <c:pt idx="11">
                  <c:v>0.48</c:v>
                </c:pt>
                <c:pt idx="12">
                  <c:v>0.69</c:v>
                </c:pt>
                <c:pt idx="13">
                  <c:v>0.56000000000000005</c:v>
                </c:pt>
                <c:pt idx="14">
                  <c:v>0.78</c:v>
                </c:pt>
                <c:pt idx="15">
                  <c:v>0.51</c:v>
                </c:pt>
                <c:pt idx="16">
                  <c:v>0.65</c:v>
                </c:pt>
                <c:pt idx="17">
                  <c:v>0.42</c:v>
                </c:pt>
                <c:pt idx="18">
                  <c:v>0.68</c:v>
                </c:pt>
                <c:pt idx="19">
                  <c:v>0.61</c:v>
                </c:pt>
                <c:pt idx="20">
                  <c:v>0.61</c:v>
                </c:pt>
                <c:pt idx="21">
                  <c:v>0.37</c:v>
                </c:pt>
                <c:pt idx="22">
                  <c:v>0.49</c:v>
                </c:pt>
                <c:pt idx="23">
                  <c:v>0.31</c:v>
                </c:pt>
                <c:pt idx="24">
                  <c:v>0.42</c:v>
                </c:pt>
                <c:pt idx="25">
                  <c:v>0.56999999999999995</c:v>
                </c:pt>
                <c:pt idx="26">
                  <c:v>0.69</c:v>
                </c:pt>
                <c:pt idx="27">
                  <c:v>0.23</c:v>
                </c:pt>
                <c:pt idx="28">
                  <c:v>0.69</c:v>
                </c:pt>
                <c:pt idx="29">
                  <c:v>0.26</c:v>
                </c:pt>
                <c:pt idx="30">
                  <c:v>0.42</c:v>
                </c:pt>
                <c:pt idx="31">
                  <c:v>0.53</c:v>
                </c:pt>
                <c:pt idx="32">
                  <c:v>0.21</c:v>
                </c:pt>
                <c:pt idx="33">
                  <c:v>0.14000000000000001</c:v>
                </c:pt>
                <c:pt idx="34">
                  <c:v>0.27</c:v>
                </c:pt>
                <c:pt idx="35">
                  <c:v>0.4</c:v>
                </c:pt>
                <c:pt idx="36">
                  <c:v>0.28999999999999998</c:v>
                </c:pt>
                <c:pt idx="37">
                  <c:v>0.21</c:v>
                </c:pt>
                <c:pt idx="38">
                  <c:v>0.16</c:v>
                </c:pt>
                <c:pt idx="39">
                  <c:v>0.16</c:v>
                </c:pt>
                <c:pt idx="40">
                  <c:v>0.43</c:v>
                </c:pt>
                <c:pt idx="41">
                  <c:v>0.08</c:v>
                </c:pt>
                <c:pt idx="42">
                  <c:v>0.18</c:v>
                </c:pt>
                <c:pt idx="43">
                  <c:v>0.41</c:v>
                </c:pt>
                <c:pt idx="44">
                  <c:v>0.21</c:v>
                </c:pt>
                <c:pt idx="45">
                  <c:v>0.06</c:v>
                </c:pt>
                <c:pt idx="46">
                  <c:v>0.27</c:v>
                </c:pt>
                <c:pt idx="47">
                  <c:v>0.23</c:v>
                </c:pt>
                <c:pt idx="48">
                  <c:v>0.34</c:v>
                </c:pt>
                <c:pt idx="49">
                  <c:v>0.36</c:v>
                </c:pt>
                <c:pt idx="50">
                  <c:v>0.06</c:v>
                </c:pt>
                <c:pt idx="51">
                  <c:v>0.13</c:v>
                </c:pt>
                <c:pt idx="52">
                  <c:v>0.01</c:v>
                </c:pt>
                <c:pt idx="53">
                  <c:v>0.01</c:v>
                </c:pt>
                <c:pt idx="5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6</c:f>
              <c:strCache>
                <c:ptCount val="55"/>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Harry's</c:v>
                </c:pt>
                <c:pt idx="13">
                  <c:v>Schick</c:v>
                </c:pt>
                <c:pt idx="14">
                  <c:v>Bic</c:v>
                </c:pt>
                <c:pt idx="15">
                  <c:v>Bic</c:v>
                </c:pt>
                <c:pt idx="16">
                  <c:v>Equate</c:v>
                </c:pt>
                <c:pt idx="17">
                  <c:v>Harry's</c:v>
                </c:pt>
                <c:pt idx="18">
                  <c:v>Dollar Shav</c:v>
                </c:pt>
                <c:pt idx="19">
                  <c:v>Dollar Shav</c:v>
                </c:pt>
                <c:pt idx="20">
                  <c:v>Schick</c:v>
                </c:pt>
                <c:pt idx="21">
                  <c:v>Harry's</c:v>
                </c:pt>
                <c:pt idx="22">
                  <c:v>Harry's</c:v>
                </c:pt>
                <c:pt idx="23">
                  <c:v>Gillette</c:v>
                </c:pt>
                <c:pt idx="24">
                  <c:v>Gillette</c:v>
                </c:pt>
                <c:pt idx="25">
                  <c:v>Gillette</c:v>
                </c:pt>
                <c:pt idx="26">
                  <c:v>Bic</c:v>
                </c:pt>
                <c:pt idx="27">
                  <c:v>Gillette</c:v>
                </c:pt>
                <c:pt idx="28">
                  <c:v>Comfort 3</c:v>
                </c:pt>
                <c:pt idx="29">
                  <c:v>Gillette</c:v>
                </c:pt>
                <c:pt idx="30">
                  <c:v>Gillette</c:v>
                </c:pt>
                <c:pt idx="31">
                  <c:v>Equate</c:v>
                </c:pt>
                <c:pt idx="32">
                  <c:v>Gillette</c:v>
                </c:pt>
                <c:pt idx="33">
                  <c:v>Gillette</c:v>
                </c:pt>
                <c:pt idx="34">
                  <c:v>Dollar Shav</c:v>
                </c:pt>
                <c:pt idx="35">
                  <c:v>Equate</c:v>
                </c:pt>
                <c:pt idx="36">
                  <c:v>Gillette</c:v>
                </c:pt>
                <c:pt idx="37">
                  <c:v>Gillette</c:v>
                </c:pt>
                <c:pt idx="38">
                  <c:v>Gillette</c:v>
                </c:pt>
                <c:pt idx="39">
                  <c:v>Gillette</c:v>
                </c:pt>
                <c:pt idx="40">
                  <c:v>Bic</c:v>
                </c:pt>
                <c:pt idx="41">
                  <c:v>Gillette</c:v>
                </c:pt>
                <c:pt idx="42">
                  <c:v>Gillette</c:v>
                </c:pt>
                <c:pt idx="43">
                  <c:v>Equate</c:v>
                </c:pt>
                <c:pt idx="44">
                  <c:v>Gillette</c:v>
                </c:pt>
                <c:pt idx="45">
                  <c:v>Gillette</c:v>
                </c:pt>
                <c:pt idx="46">
                  <c:v>Harry's</c:v>
                </c:pt>
                <c:pt idx="47">
                  <c:v>Gillette</c:v>
                </c:pt>
                <c:pt idx="48">
                  <c:v>Dollar Shav</c:v>
                </c:pt>
                <c:pt idx="49">
                  <c:v>Bic</c:v>
                </c:pt>
                <c:pt idx="50">
                  <c:v>Van Der Hag</c:v>
                </c:pt>
                <c:pt idx="51">
                  <c:v>Van Der Hag</c:v>
                </c:pt>
                <c:pt idx="52">
                  <c:v>Bic</c:v>
                </c:pt>
                <c:pt idx="53">
                  <c:v>Schick</c:v>
                </c:pt>
                <c:pt idx="54">
                  <c:v>Harry's</c:v>
                </c:pt>
              </c:strCache>
            </c:strRef>
          </c:cat>
          <c:val>
            <c:numRef>
              <c:f>Sheet1!$C$2:$C$56</c:f>
              <c:numCache>
                <c:formatCode>General</c:formatCode>
                <c:ptCount val="55"/>
                <c:pt idx="0">
                  <c:v>9.7870616263198429E-2</c:v>
                </c:pt>
                <c:pt idx="1">
                  <c:v>0.18419395078953005</c:v>
                </c:pt>
                <c:pt idx="2">
                  <c:v>0.24884344568792582</c:v>
                </c:pt>
                <c:pt idx="3">
                  <c:v>0.2988711273455536</c:v>
                </c:pt>
                <c:pt idx="4">
                  <c:v>0.34819258396336095</c:v>
                </c:pt>
                <c:pt idx="5">
                  <c:v>0.39222515376203421</c:v>
                </c:pt>
                <c:pt idx="6">
                  <c:v>0.43422905519736715</c:v>
                </c:pt>
                <c:pt idx="7">
                  <c:v>0.46729959401811438</c:v>
                </c:pt>
                <c:pt idx="8">
                  <c:v>0.49765610114608211</c:v>
                </c:pt>
                <c:pt idx="9">
                  <c:v>0.52682289979901842</c:v>
                </c:pt>
                <c:pt idx="10">
                  <c:v>0.55204961281138321</c:v>
                </c:pt>
                <c:pt idx="11">
                  <c:v>0.57668008277548455</c:v>
                </c:pt>
                <c:pt idx="12">
                  <c:v>0.60100678732496848</c:v>
                </c:pt>
                <c:pt idx="13">
                  <c:v>0.62519118309655386</c:v>
                </c:pt>
                <c:pt idx="14">
                  <c:v>0.64785291040362258</c:v>
                </c:pt>
                <c:pt idx="15">
                  <c:v>0.66745298964266309</c:v>
                </c:pt>
                <c:pt idx="16">
                  <c:v>0.68641415683940232</c:v>
                </c:pt>
                <c:pt idx="17">
                  <c:v>0.70462075656263301</c:v>
                </c:pt>
                <c:pt idx="18">
                  <c:v>0.72209914666739783</c:v>
                </c:pt>
                <c:pt idx="19">
                  <c:v>0.73924174006285215</c:v>
                </c:pt>
                <c:pt idx="20">
                  <c:v>0.75634160536593908</c:v>
                </c:pt>
                <c:pt idx="21">
                  <c:v>0.77265599476908853</c:v>
                </c:pt>
                <c:pt idx="22">
                  <c:v>0.78846509345337057</c:v>
                </c:pt>
                <c:pt idx="23">
                  <c:v>0.80419488217920587</c:v>
                </c:pt>
                <c:pt idx="24">
                  <c:v>0.81948846613358384</c:v>
                </c:pt>
                <c:pt idx="25">
                  <c:v>0.83478027713807101</c:v>
                </c:pt>
                <c:pt idx="26">
                  <c:v>0.84962034051039192</c:v>
                </c:pt>
                <c:pt idx="27">
                  <c:v>0.86435473606922342</c:v>
                </c:pt>
                <c:pt idx="28">
                  <c:v>0.8781416081081016</c:v>
                </c:pt>
                <c:pt idx="29">
                  <c:v>0.8905510753768463</c:v>
                </c:pt>
                <c:pt idx="30">
                  <c:v>0.90095403615588521</c:v>
                </c:pt>
                <c:pt idx="31">
                  <c:v>0.91129878508017736</c:v>
                </c:pt>
                <c:pt idx="32">
                  <c:v>0.92156203740782416</c:v>
                </c:pt>
                <c:pt idx="33">
                  <c:v>0.93154563643936805</c:v>
                </c:pt>
                <c:pt idx="34">
                  <c:v>0.94077833209384421</c:v>
                </c:pt>
                <c:pt idx="35">
                  <c:v>0.94872540268419869</c:v>
                </c:pt>
                <c:pt idx="36">
                  <c:v>0.95618786697107805</c:v>
                </c:pt>
                <c:pt idx="37">
                  <c:v>0.96288879018154516</c:v>
                </c:pt>
                <c:pt idx="38">
                  <c:v>0.96793519655395255</c:v>
                </c:pt>
                <c:pt idx="39">
                  <c:v>0.97202113687220415</c:v>
                </c:pt>
                <c:pt idx="40">
                  <c:v>0.97607037712771694</c:v>
                </c:pt>
                <c:pt idx="41">
                  <c:v>0.98007866224075313</c:v>
                </c:pt>
                <c:pt idx="42">
                  <c:v>0.98290385789168344</c:v>
                </c:pt>
                <c:pt idx="43">
                  <c:v>0.9856862663519167</c:v>
                </c:pt>
                <c:pt idx="44">
                  <c:v>0.98842665589973888</c:v>
                </c:pt>
                <c:pt idx="45">
                  <c:v>0.9909227329526139</c:v>
                </c:pt>
                <c:pt idx="46">
                  <c:v>0.99302249660657382</c:v>
                </c:pt>
                <c:pt idx="47">
                  <c:v>0.99501747892198966</c:v>
                </c:pt>
                <c:pt idx="48">
                  <c:v>0.99675727464979502</c:v>
                </c:pt>
                <c:pt idx="49">
                  <c:v>0.99807091232219081</c:v>
                </c:pt>
                <c:pt idx="50">
                  <c:v>0.99872359427531021</c:v>
                </c:pt>
                <c:pt idx="51">
                  <c:v>0.99922758483092433</c:v>
                </c:pt>
                <c:pt idx="52">
                  <c:v>0.99939441941564511</c:v>
                </c:pt>
                <c:pt idx="53">
                  <c:v>0.999710359086179</c:v>
                </c:pt>
                <c:pt idx="54">
                  <c:v>0.9997912056011977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4</c:f>
              <c:strCache>
                <c:ptCount val="83"/>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Gillette</c:v>
                </c:pt>
                <c:pt idx="19">
                  <c:v>Schick</c:v>
                </c:pt>
                <c:pt idx="20">
                  <c:v>Gillette</c:v>
                </c:pt>
                <c:pt idx="21">
                  <c:v>Bic</c:v>
                </c:pt>
                <c:pt idx="22">
                  <c:v>Dollar Shav</c:v>
                </c:pt>
                <c:pt idx="23">
                  <c:v>Gillette</c:v>
                </c:pt>
                <c:pt idx="24">
                  <c:v>Dollar Shav</c:v>
                </c:pt>
                <c:pt idx="25">
                  <c:v>Equate</c:v>
                </c:pt>
                <c:pt idx="26">
                  <c:v>Gillette</c:v>
                </c:pt>
                <c:pt idx="27">
                  <c:v>Bic</c:v>
                </c:pt>
                <c:pt idx="28">
                  <c:v>Gillette</c:v>
                </c:pt>
                <c:pt idx="29">
                  <c:v>Schick</c:v>
                </c:pt>
                <c:pt idx="30">
                  <c:v>Harry's</c:v>
                </c:pt>
                <c:pt idx="31">
                  <c:v>Gillette</c:v>
                </c:pt>
                <c:pt idx="32">
                  <c:v>Schick</c:v>
                </c:pt>
                <c:pt idx="33">
                  <c:v>Van Der Hag</c:v>
                </c:pt>
                <c:pt idx="34">
                  <c:v>Bic</c:v>
                </c:pt>
                <c:pt idx="35">
                  <c:v>Dollar Shav</c:v>
                </c:pt>
                <c:pt idx="36">
                  <c:v>Gillette</c:v>
                </c:pt>
                <c:pt idx="37">
                  <c:v>Comfort 3</c:v>
                </c:pt>
                <c:pt idx="38">
                  <c:v>Van Der Hag</c:v>
                </c:pt>
                <c:pt idx="39">
                  <c:v>Gillette</c:v>
                </c:pt>
                <c:pt idx="40">
                  <c:v>Comfort 3</c:v>
                </c:pt>
                <c:pt idx="41">
                  <c:v>Equate</c:v>
                </c:pt>
                <c:pt idx="42">
                  <c:v>Equate</c:v>
                </c:pt>
                <c:pt idx="43">
                  <c:v>Gillette</c:v>
                </c:pt>
                <c:pt idx="44">
                  <c:v>Harry's</c:v>
                </c:pt>
                <c:pt idx="45">
                  <c:v>Gillette</c:v>
                </c:pt>
                <c:pt idx="46">
                  <c:v>Gillette</c:v>
                </c:pt>
                <c:pt idx="47">
                  <c:v>Bic</c:v>
                </c:pt>
                <c:pt idx="48">
                  <c:v>Gillette</c:v>
                </c:pt>
                <c:pt idx="49">
                  <c:v>Schick</c:v>
                </c:pt>
                <c:pt idx="50">
                  <c:v>Gillette</c:v>
                </c:pt>
                <c:pt idx="51">
                  <c:v>Gillette</c:v>
                </c:pt>
                <c:pt idx="52">
                  <c:v>Gillette</c:v>
                </c:pt>
                <c:pt idx="53">
                  <c:v>Harry's</c:v>
                </c:pt>
                <c:pt idx="54">
                  <c:v>Bic</c:v>
                </c:pt>
                <c:pt idx="55">
                  <c:v>Gillette</c:v>
                </c:pt>
                <c:pt idx="56">
                  <c:v>Gillette</c:v>
                </c:pt>
                <c:pt idx="57">
                  <c:v>Gillette</c:v>
                </c:pt>
                <c:pt idx="58">
                  <c:v>Bic</c:v>
                </c:pt>
                <c:pt idx="59">
                  <c:v>Gillette</c:v>
                </c:pt>
                <c:pt idx="60">
                  <c:v>Harry's</c:v>
                </c:pt>
                <c:pt idx="61">
                  <c:v>Gillette</c:v>
                </c:pt>
                <c:pt idx="62">
                  <c:v>Gillette</c:v>
                </c:pt>
                <c:pt idx="63">
                  <c:v>Equate</c:v>
                </c:pt>
                <c:pt idx="64">
                  <c:v>Gillette</c:v>
                </c:pt>
                <c:pt idx="65">
                  <c:v>Gillette</c:v>
                </c:pt>
                <c:pt idx="66">
                  <c:v>Gillette</c:v>
                </c:pt>
                <c:pt idx="67">
                  <c:v>Dollar Shav</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Schick</c:v>
                </c:pt>
                <c:pt idx="82">
                  <c:v>Harry's</c:v>
                </c:pt>
              </c:strCache>
            </c:strRef>
          </c:cat>
          <c:val>
            <c:numRef>
              <c:f>Sheet1!$B$2:$B$84</c:f>
              <c:numCache>
                <c:formatCode>General</c:formatCode>
                <c:ptCount val="83"/>
                <c:pt idx="0">
                  <c:v>0.99</c:v>
                </c:pt>
                <c:pt idx="1">
                  <c:v>0.99</c:v>
                </c:pt>
                <c:pt idx="2">
                  <c:v>0.99</c:v>
                </c:pt>
                <c:pt idx="3">
                  <c:v>0.94</c:v>
                </c:pt>
                <c:pt idx="4">
                  <c:v>0.94</c:v>
                </c:pt>
                <c:pt idx="5">
                  <c:v>0.88</c:v>
                </c:pt>
                <c:pt idx="6">
                  <c:v>0.65</c:v>
                </c:pt>
                <c:pt idx="7">
                  <c:v>0.96</c:v>
                </c:pt>
                <c:pt idx="8">
                  <c:v>0.84</c:v>
                </c:pt>
                <c:pt idx="9">
                  <c:v>0.86</c:v>
                </c:pt>
                <c:pt idx="10">
                  <c:v>0.89</c:v>
                </c:pt>
                <c:pt idx="11">
                  <c:v>0.81</c:v>
                </c:pt>
                <c:pt idx="12">
                  <c:v>0.91</c:v>
                </c:pt>
                <c:pt idx="13">
                  <c:v>0.94</c:v>
                </c:pt>
                <c:pt idx="14">
                  <c:v>0.66</c:v>
                </c:pt>
                <c:pt idx="15">
                  <c:v>0.69</c:v>
                </c:pt>
                <c:pt idx="16">
                  <c:v>0.75</c:v>
                </c:pt>
                <c:pt idx="17">
                  <c:v>0.96</c:v>
                </c:pt>
                <c:pt idx="18">
                  <c:v>0.66</c:v>
                </c:pt>
                <c:pt idx="19">
                  <c:v>0.8</c:v>
                </c:pt>
                <c:pt idx="20">
                  <c:v>0.76</c:v>
                </c:pt>
                <c:pt idx="21">
                  <c:v>0.84</c:v>
                </c:pt>
                <c:pt idx="22">
                  <c:v>0.88</c:v>
                </c:pt>
                <c:pt idx="23">
                  <c:v>0.46</c:v>
                </c:pt>
                <c:pt idx="24">
                  <c:v>0.91</c:v>
                </c:pt>
                <c:pt idx="25">
                  <c:v>0.86</c:v>
                </c:pt>
                <c:pt idx="26">
                  <c:v>0.62</c:v>
                </c:pt>
                <c:pt idx="27">
                  <c:v>0.64</c:v>
                </c:pt>
                <c:pt idx="28">
                  <c:v>0.56999999999999995</c:v>
                </c:pt>
                <c:pt idx="29">
                  <c:v>0.87</c:v>
                </c:pt>
                <c:pt idx="30">
                  <c:v>0.86</c:v>
                </c:pt>
                <c:pt idx="31">
                  <c:v>0.67</c:v>
                </c:pt>
                <c:pt idx="32">
                  <c:v>0.49</c:v>
                </c:pt>
                <c:pt idx="33">
                  <c:v>0.65</c:v>
                </c:pt>
                <c:pt idx="34">
                  <c:v>0.91</c:v>
                </c:pt>
                <c:pt idx="35">
                  <c:v>0.59</c:v>
                </c:pt>
                <c:pt idx="36">
                  <c:v>0.64</c:v>
                </c:pt>
                <c:pt idx="37">
                  <c:v>0.89</c:v>
                </c:pt>
                <c:pt idx="38">
                  <c:v>0.93</c:v>
                </c:pt>
                <c:pt idx="39">
                  <c:v>0.56999999999999995</c:v>
                </c:pt>
                <c:pt idx="40">
                  <c:v>0.66</c:v>
                </c:pt>
                <c:pt idx="41">
                  <c:v>0.77</c:v>
                </c:pt>
                <c:pt idx="42">
                  <c:v>0.6</c:v>
                </c:pt>
                <c:pt idx="43">
                  <c:v>0.68</c:v>
                </c:pt>
                <c:pt idx="44">
                  <c:v>0.57999999999999996</c:v>
                </c:pt>
                <c:pt idx="45">
                  <c:v>0.35</c:v>
                </c:pt>
                <c:pt idx="46">
                  <c:v>0.89</c:v>
                </c:pt>
                <c:pt idx="47">
                  <c:v>0.75</c:v>
                </c:pt>
                <c:pt idx="48">
                  <c:v>0.46</c:v>
                </c:pt>
                <c:pt idx="49">
                  <c:v>0.91</c:v>
                </c:pt>
                <c:pt idx="50">
                  <c:v>0.41</c:v>
                </c:pt>
                <c:pt idx="51">
                  <c:v>0.49</c:v>
                </c:pt>
                <c:pt idx="52">
                  <c:v>0.21</c:v>
                </c:pt>
                <c:pt idx="53">
                  <c:v>0.26</c:v>
                </c:pt>
                <c:pt idx="54">
                  <c:v>0.6</c:v>
                </c:pt>
                <c:pt idx="55">
                  <c:v>0.47</c:v>
                </c:pt>
                <c:pt idx="56">
                  <c:v>0.6</c:v>
                </c:pt>
                <c:pt idx="57">
                  <c:v>0.31</c:v>
                </c:pt>
                <c:pt idx="58">
                  <c:v>0.83</c:v>
                </c:pt>
                <c:pt idx="59">
                  <c:v>0.84</c:v>
                </c:pt>
                <c:pt idx="60">
                  <c:v>0.74</c:v>
                </c:pt>
                <c:pt idx="61">
                  <c:v>0.17</c:v>
                </c:pt>
                <c:pt idx="62">
                  <c:v>0.64</c:v>
                </c:pt>
                <c:pt idx="63">
                  <c:v>0.71</c:v>
                </c:pt>
                <c:pt idx="64">
                  <c:v>0.38</c:v>
                </c:pt>
                <c:pt idx="65">
                  <c:v>0.46</c:v>
                </c:pt>
                <c:pt idx="66">
                  <c:v>0.33</c:v>
                </c:pt>
                <c:pt idx="67">
                  <c:v>0.65</c:v>
                </c:pt>
                <c:pt idx="68">
                  <c:v>0.73</c:v>
                </c:pt>
                <c:pt idx="69">
                  <c:v>0.35</c:v>
                </c:pt>
                <c:pt idx="70">
                  <c:v>0.42</c:v>
                </c:pt>
                <c:pt idx="71">
                  <c:v>0.18</c:v>
                </c:pt>
                <c:pt idx="72">
                  <c:v>0.19</c:v>
                </c:pt>
                <c:pt idx="73">
                  <c:v>0.06</c:v>
                </c:pt>
                <c:pt idx="74">
                  <c:v>0.05</c:v>
                </c:pt>
                <c:pt idx="75">
                  <c:v>0.13</c:v>
                </c:pt>
                <c:pt idx="76">
                  <c:v>7.0000000000000007E-2</c:v>
                </c:pt>
                <c:pt idx="77">
                  <c:v>0.04</c:v>
                </c:pt>
                <c:pt idx="78">
                  <c:v>0.02</c:v>
                </c:pt>
                <c:pt idx="79">
                  <c:v>0.01</c:v>
                </c:pt>
                <c:pt idx="80">
                  <c:v>0.01</c:v>
                </c:pt>
                <c:pt idx="81">
                  <c:v>0.01</c:v>
                </c:pt>
                <c:pt idx="8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4</c:f>
              <c:strCache>
                <c:ptCount val="83"/>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Gillette</c:v>
                </c:pt>
                <c:pt idx="19">
                  <c:v>Schick</c:v>
                </c:pt>
                <c:pt idx="20">
                  <c:v>Gillette</c:v>
                </c:pt>
                <c:pt idx="21">
                  <c:v>Bic</c:v>
                </c:pt>
                <c:pt idx="22">
                  <c:v>Dollar Shav</c:v>
                </c:pt>
                <c:pt idx="23">
                  <c:v>Gillette</c:v>
                </c:pt>
                <c:pt idx="24">
                  <c:v>Dollar Shav</c:v>
                </c:pt>
                <c:pt idx="25">
                  <c:v>Equate</c:v>
                </c:pt>
                <c:pt idx="26">
                  <c:v>Gillette</c:v>
                </c:pt>
                <c:pt idx="27">
                  <c:v>Bic</c:v>
                </c:pt>
                <c:pt idx="28">
                  <c:v>Gillette</c:v>
                </c:pt>
                <c:pt idx="29">
                  <c:v>Schick</c:v>
                </c:pt>
                <c:pt idx="30">
                  <c:v>Harry's</c:v>
                </c:pt>
                <c:pt idx="31">
                  <c:v>Gillette</c:v>
                </c:pt>
                <c:pt idx="32">
                  <c:v>Schick</c:v>
                </c:pt>
                <c:pt idx="33">
                  <c:v>Van Der Hag</c:v>
                </c:pt>
                <c:pt idx="34">
                  <c:v>Bic</c:v>
                </c:pt>
                <c:pt idx="35">
                  <c:v>Dollar Shav</c:v>
                </c:pt>
                <c:pt idx="36">
                  <c:v>Gillette</c:v>
                </c:pt>
                <c:pt idx="37">
                  <c:v>Comfort 3</c:v>
                </c:pt>
                <c:pt idx="38">
                  <c:v>Van Der Hag</c:v>
                </c:pt>
                <c:pt idx="39">
                  <c:v>Gillette</c:v>
                </c:pt>
                <c:pt idx="40">
                  <c:v>Comfort 3</c:v>
                </c:pt>
                <c:pt idx="41">
                  <c:v>Equate</c:v>
                </c:pt>
                <c:pt idx="42">
                  <c:v>Equate</c:v>
                </c:pt>
                <c:pt idx="43">
                  <c:v>Gillette</c:v>
                </c:pt>
                <c:pt idx="44">
                  <c:v>Harry's</c:v>
                </c:pt>
                <c:pt idx="45">
                  <c:v>Gillette</c:v>
                </c:pt>
                <c:pt idx="46">
                  <c:v>Gillette</c:v>
                </c:pt>
                <c:pt idx="47">
                  <c:v>Bic</c:v>
                </c:pt>
                <c:pt idx="48">
                  <c:v>Gillette</c:v>
                </c:pt>
                <c:pt idx="49">
                  <c:v>Schick</c:v>
                </c:pt>
                <c:pt idx="50">
                  <c:v>Gillette</c:v>
                </c:pt>
                <c:pt idx="51">
                  <c:v>Gillette</c:v>
                </c:pt>
                <c:pt idx="52">
                  <c:v>Gillette</c:v>
                </c:pt>
                <c:pt idx="53">
                  <c:v>Harry's</c:v>
                </c:pt>
                <c:pt idx="54">
                  <c:v>Bic</c:v>
                </c:pt>
                <c:pt idx="55">
                  <c:v>Gillette</c:v>
                </c:pt>
                <c:pt idx="56">
                  <c:v>Gillette</c:v>
                </c:pt>
                <c:pt idx="57">
                  <c:v>Gillette</c:v>
                </c:pt>
                <c:pt idx="58">
                  <c:v>Bic</c:v>
                </c:pt>
                <c:pt idx="59">
                  <c:v>Gillette</c:v>
                </c:pt>
                <c:pt idx="60">
                  <c:v>Harry's</c:v>
                </c:pt>
                <c:pt idx="61">
                  <c:v>Gillette</c:v>
                </c:pt>
                <c:pt idx="62">
                  <c:v>Gillette</c:v>
                </c:pt>
                <c:pt idx="63">
                  <c:v>Equate</c:v>
                </c:pt>
                <c:pt idx="64">
                  <c:v>Gillette</c:v>
                </c:pt>
                <c:pt idx="65">
                  <c:v>Gillette</c:v>
                </c:pt>
                <c:pt idx="66">
                  <c:v>Gillette</c:v>
                </c:pt>
                <c:pt idx="67">
                  <c:v>Dollar Shav</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Schick</c:v>
                </c:pt>
                <c:pt idx="82">
                  <c:v>Harry's</c:v>
                </c:pt>
              </c:strCache>
            </c:strRef>
          </c:cat>
          <c:val>
            <c:numRef>
              <c:f>Sheet1!$C$2:$C$84</c:f>
              <c:numCache>
                <c:formatCode>General</c:formatCode>
                <c:ptCount val="83"/>
                <c:pt idx="0">
                  <c:v>8.1329146854941553E-2</c:v>
                </c:pt>
                <c:pt idx="1">
                  <c:v>0.16013863596254391</c:v>
                </c:pt>
                <c:pt idx="2">
                  <c:v>0.21319131460999152</c:v>
                </c:pt>
                <c:pt idx="3">
                  <c:v>0.25340672163864714</c:v>
                </c:pt>
                <c:pt idx="4">
                  <c:v>0.29344865258063962</c:v>
                </c:pt>
                <c:pt idx="5">
                  <c:v>0.33184453857395479</c:v>
                </c:pt>
                <c:pt idx="6">
                  <c:v>0.3669724400168744</c:v>
                </c:pt>
                <c:pt idx="7">
                  <c:v>0.39898034038981878</c:v>
                </c:pt>
                <c:pt idx="8">
                  <c:v>0.42703109395747452</c:v>
                </c:pt>
                <c:pt idx="9">
                  <c:v>0.4528126896589898</c:v>
                </c:pt>
                <c:pt idx="10">
                  <c:v>0.47676633088753906</c:v>
                </c:pt>
                <c:pt idx="11">
                  <c:v>0.50057106494074888</c:v>
                </c:pt>
                <c:pt idx="12">
                  <c:v>0.52177869165963053</c:v>
                </c:pt>
                <c:pt idx="13">
                  <c:v>0.54105700813258428</c:v>
                </c:pt>
                <c:pt idx="14">
                  <c:v>0.55991031849464368</c:v>
                </c:pt>
                <c:pt idx="15">
                  <c:v>0.57832210955299868</c:v>
                </c:pt>
                <c:pt idx="16">
                  <c:v>0.59581996114678193</c:v>
                </c:pt>
                <c:pt idx="17">
                  <c:v>0.61262621934811545</c:v>
                </c:pt>
                <c:pt idx="18">
                  <c:v>0.62894907263004551</c:v>
                </c:pt>
                <c:pt idx="19">
                  <c:v>0.64475596847274708</c:v>
                </c:pt>
                <c:pt idx="20">
                  <c:v>0.65985053070994582</c:v>
                </c:pt>
                <c:pt idx="21">
                  <c:v>0.67479981874289952</c:v>
                </c:pt>
                <c:pt idx="22">
                  <c:v>0.68880455832797749</c:v>
                </c:pt>
                <c:pt idx="23">
                  <c:v>0.70257450771310137</c:v>
                </c:pt>
                <c:pt idx="24">
                  <c:v>0.71633651469544524</c:v>
                </c:pt>
                <c:pt idx="25">
                  <c:v>0.72999272598835729</c:v>
                </c:pt>
                <c:pt idx="26">
                  <c:v>0.74336241329822617</c:v>
                </c:pt>
                <c:pt idx="27">
                  <c:v>0.75591917353547433</c:v>
                </c:pt>
                <c:pt idx="28">
                  <c:v>0.76839308280243335</c:v>
                </c:pt>
                <c:pt idx="29">
                  <c:v>0.78075449014881937</c:v>
                </c:pt>
                <c:pt idx="30">
                  <c:v>0.79298477402241607</c:v>
                </c:pt>
                <c:pt idx="31">
                  <c:v>0.80429278800811865</c:v>
                </c:pt>
                <c:pt idx="32">
                  <c:v>0.8154184117361174</c:v>
                </c:pt>
                <c:pt idx="33">
                  <c:v>0.82605599146725661</c:v>
                </c:pt>
                <c:pt idx="34">
                  <c:v>0.83580141239133987</c:v>
                </c:pt>
                <c:pt idx="35">
                  <c:v>0.84540565908044729</c:v>
                </c:pt>
                <c:pt idx="36">
                  <c:v>0.8543211555718746</c:v>
                </c:pt>
                <c:pt idx="37">
                  <c:v>0.86291054311733206</c:v>
                </c:pt>
                <c:pt idx="38">
                  <c:v>0.87119186295512785</c:v>
                </c:pt>
                <c:pt idx="39">
                  <c:v>0.87883725832994697</c:v>
                </c:pt>
                <c:pt idx="40">
                  <c:v>0.8860350702924108</c:v>
                </c:pt>
                <c:pt idx="41">
                  <c:v>0.89305986973257612</c:v>
                </c:pt>
                <c:pt idx="42">
                  <c:v>0.89983926849955331</c:v>
                </c:pt>
                <c:pt idx="43">
                  <c:v>0.90660613729344586</c:v>
                </c:pt>
                <c:pt idx="44">
                  <c:v>0.91301514126548855</c:v>
                </c:pt>
                <c:pt idx="45">
                  <c:v>0.91915460144547279</c:v>
                </c:pt>
                <c:pt idx="46">
                  <c:v>0.92527130919968048</c:v>
                </c:pt>
                <c:pt idx="47">
                  <c:v>0.9306926532379397</c:v>
                </c:pt>
                <c:pt idx="48">
                  <c:v>0.93556301840767753</c:v>
                </c:pt>
                <c:pt idx="49">
                  <c:v>0.94022639350409676</c:v>
                </c:pt>
                <c:pt idx="50">
                  <c:v>0.9448581020036988</c:v>
                </c:pt>
                <c:pt idx="51">
                  <c:v>0.94914022803143172</c:v>
                </c:pt>
                <c:pt idx="52">
                  <c:v>0.95301156735592818</c:v>
                </c:pt>
                <c:pt idx="53">
                  <c:v>0.95671559428290553</c:v>
                </c:pt>
                <c:pt idx="54">
                  <c:v>0.96032405827457346</c:v>
                </c:pt>
                <c:pt idx="55">
                  <c:v>0.96384274186715402</c:v>
                </c:pt>
                <c:pt idx="56">
                  <c:v>0.96719844309676195</c:v>
                </c:pt>
                <c:pt idx="57">
                  <c:v>0.97053780625787534</c:v>
                </c:pt>
                <c:pt idx="58">
                  <c:v>0.97367568374327351</c:v>
                </c:pt>
                <c:pt idx="59">
                  <c:v>0.97677729332630958</c:v>
                </c:pt>
                <c:pt idx="60">
                  <c:v>0.97979948231535452</c:v>
                </c:pt>
                <c:pt idx="61">
                  <c:v>0.98260846260097512</c:v>
                </c:pt>
                <c:pt idx="62">
                  <c:v>0.9847687961571685</c:v>
                </c:pt>
                <c:pt idx="63">
                  <c:v>0.98685684114296535</c:v>
                </c:pt>
                <c:pt idx="64">
                  <c:v>0.98881223461047474</c:v>
                </c:pt>
                <c:pt idx="65">
                  <c:v>0.99070773212826779</c:v>
                </c:pt>
                <c:pt idx="66">
                  <c:v>0.9920904862530936</c:v>
                </c:pt>
                <c:pt idx="67">
                  <c:v>0.99341075190157146</c:v>
                </c:pt>
                <c:pt idx="68">
                  <c:v>0.99457404778857605</c:v>
                </c:pt>
                <c:pt idx="69">
                  <c:v>0.99568977167034245</c:v>
                </c:pt>
                <c:pt idx="70">
                  <c:v>0.9967420524765509</c:v>
                </c:pt>
                <c:pt idx="71">
                  <c:v>0.99766165772780113</c:v>
                </c:pt>
                <c:pt idx="72">
                  <c:v>0.99844360153181611</c:v>
                </c:pt>
                <c:pt idx="73">
                  <c:v>0.99883812914419057</c:v>
                </c:pt>
                <c:pt idx="74">
                  <c:v>0.99917088594652981</c:v>
                </c:pt>
                <c:pt idx="75">
                  <c:v>0.99946911578823172</c:v>
                </c:pt>
                <c:pt idx="76">
                  <c:v>0.99961310231368616</c:v>
                </c:pt>
                <c:pt idx="77">
                  <c:v>0.99972952907921264</c:v>
                </c:pt>
                <c:pt idx="78">
                  <c:v>0.99976796714956317</c:v>
                </c:pt>
                <c:pt idx="79">
                  <c:v>0.99979516292561965</c:v>
                </c:pt>
                <c:pt idx="80">
                  <c:v>0.99981853687102573</c:v>
                </c:pt>
                <c:pt idx="81">
                  <c:v>0.99985008328448921</c:v>
                </c:pt>
                <c:pt idx="82">
                  <c:v>0.9998629188666734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5</c:f>
              <c:strCache>
                <c:ptCount val="54"/>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pt idx="13">
                  <c:v>Schick</c:v>
                </c:pt>
                <c:pt idx="14">
                  <c:v>Gillette</c:v>
                </c:pt>
                <c:pt idx="15">
                  <c:v>Equate</c:v>
                </c:pt>
                <c:pt idx="16">
                  <c:v>Gillette</c:v>
                </c:pt>
                <c:pt idx="17">
                  <c:v>Gillette</c:v>
                </c:pt>
                <c:pt idx="18">
                  <c:v>Equate</c:v>
                </c:pt>
                <c:pt idx="19">
                  <c:v>Bic</c:v>
                </c:pt>
                <c:pt idx="20">
                  <c:v>Gillette</c:v>
                </c:pt>
                <c:pt idx="21">
                  <c:v>Bic</c:v>
                </c:pt>
                <c:pt idx="22">
                  <c:v>Equate</c:v>
                </c:pt>
                <c:pt idx="23">
                  <c:v>Bic</c:v>
                </c:pt>
                <c:pt idx="24">
                  <c:v>Bic</c:v>
                </c:pt>
                <c:pt idx="25">
                  <c:v>Equate</c:v>
                </c:pt>
                <c:pt idx="26">
                  <c:v>Gillette</c:v>
                </c:pt>
                <c:pt idx="27">
                  <c:v>Schick</c:v>
                </c:pt>
                <c:pt idx="28">
                  <c:v>Bic</c:v>
                </c:pt>
                <c:pt idx="29">
                  <c:v>Gillette</c:v>
                </c:pt>
                <c:pt idx="30">
                  <c:v>Gillette</c:v>
                </c:pt>
                <c:pt idx="31">
                  <c:v>Bic</c:v>
                </c:pt>
                <c:pt idx="32">
                  <c:v>Equate</c:v>
                </c:pt>
                <c:pt idx="33">
                  <c:v>Bic</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Gillette</c:v>
                </c:pt>
                <c:pt idx="48">
                  <c:v>Bic</c:v>
                </c:pt>
                <c:pt idx="49">
                  <c:v>Harry's</c:v>
                </c:pt>
                <c:pt idx="50">
                  <c:v>Harry's</c:v>
                </c:pt>
                <c:pt idx="51">
                  <c:v>Gillette</c:v>
                </c:pt>
                <c:pt idx="52">
                  <c:v>Bic</c:v>
                </c:pt>
                <c:pt idx="53">
                  <c:v>Equate</c:v>
                </c:pt>
              </c:strCache>
            </c:strRef>
          </c:cat>
          <c:val>
            <c:numRef>
              <c:f>Sheet1!$B$2:$B$55</c:f>
              <c:numCache>
                <c:formatCode>General</c:formatCode>
                <c:ptCount val="54"/>
                <c:pt idx="0">
                  <c:v>0.91</c:v>
                </c:pt>
                <c:pt idx="1">
                  <c:v>0.97499999999999998</c:v>
                </c:pt>
                <c:pt idx="2">
                  <c:v>0.98499999999999999</c:v>
                </c:pt>
                <c:pt idx="3">
                  <c:v>0.94199999999999995</c:v>
                </c:pt>
                <c:pt idx="4">
                  <c:v>0.85199999999999998</c:v>
                </c:pt>
                <c:pt idx="5">
                  <c:v>0.96299999999999997</c:v>
                </c:pt>
                <c:pt idx="6">
                  <c:v>0.95</c:v>
                </c:pt>
                <c:pt idx="7">
                  <c:v>0.98699999999999999</c:v>
                </c:pt>
                <c:pt idx="8">
                  <c:v>0.80400000000000005</c:v>
                </c:pt>
                <c:pt idx="9">
                  <c:v>0.66500000000000004</c:v>
                </c:pt>
                <c:pt idx="10">
                  <c:v>0.93899999999999995</c:v>
                </c:pt>
                <c:pt idx="11">
                  <c:v>0.85699999999999998</c:v>
                </c:pt>
                <c:pt idx="12">
                  <c:v>0.79300000000000004</c:v>
                </c:pt>
                <c:pt idx="13">
                  <c:v>0.95</c:v>
                </c:pt>
                <c:pt idx="14">
                  <c:v>0.60899999999999999</c:v>
                </c:pt>
                <c:pt idx="15">
                  <c:v>0.98799999999999999</c:v>
                </c:pt>
                <c:pt idx="16">
                  <c:v>0.89100000000000001</c:v>
                </c:pt>
                <c:pt idx="17">
                  <c:v>0.82399999999999995</c:v>
                </c:pt>
                <c:pt idx="18">
                  <c:v>0.91100000000000003</c:v>
                </c:pt>
                <c:pt idx="19">
                  <c:v>0.78200000000000003</c:v>
                </c:pt>
                <c:pt idx="20">
                  <c:v>0.64600000000000002</c:v>
                </c:pt>
                <c:pt idx="21">
                  <c:v>0.88</c:v>
                </c:pt>
                <c:pt idx="22">
                  <c:v>0.95899999999999996</c:v>
                </c:pt>
                <c:pt idx="23">
                  <c:v>0.89700000000000002</c:v>
                </c:pt>
                <c:pt idx="24">
                  <c:v>0.95299999999999996</c:v>
                </c:pt>
                <c:pt idx="25">
                  <c:v>0.93799999999999994</c:v>
                </c:pt>
                <c:pt idx="26">
                  <c:v>0.63400000000000001</c:v>
                </c:pt>
                <c:pt idx="27">
                  <c:v>0.70099999999999996</c:v>
                </c:pt>
                <c:pt idx="28">
                  <c:v>0.877</c:v>
                </c:pt>
                <c:pt idx="29">
                  <c:v>0.63200000000000001</c:v>
                </c:pt>
                <c:pt idx="30">
                  <c:v>0.65200000000000002</c:v>
                </c:pt>
                <c:pt idx="31">
                  <c:v>0.80500000000000005</c:v>
                </c:pt>
                <c:pt idx="32">
                  <c:v>0.97799999999999998</c:v>
                </c:pt>
                <c:pt idx="33">
                  <c:v>0.82199999999999995</c:v>
                </c:pt>
                <c:pt idx="34">
                  <c:v>0.76</c:v>
                </c:pt>
                <c:pt idx="35">
                  <c:v>0.75900000000000001</c:v>
                </c:pt>
                <c:pt idx="36">
                  <c:v>0.68200000000000005</c:v>
                </c:pt>
                <c:pt idx="37">
                  <c:v>0.72199999999999998</c:v>
                </c:pt>
                <c:pt idx="38">
                  <c:v>0.45400000000000001</c:v>
                </c:pt>
                <c:pt idx="39">
                  <c:v>0.753</c:v>
                </c:pt>
                <c:pt idx="40">
                  <c:v>0.54400000000000004</c:v>
                </c:pt>
                <c:pt idx="41">
                  <c:v>0.84399999999999997</c:v>
                </c:pt>
                <c:pt idx="42">
                  <c:v>0.89600000000000002</c:v>
                </c:pt>
                <c:pt idx="43">
                  <c:v>0.81699999999999995</c:v>
                </c:pt>
                <c:pt idx="44">
                  <c:v>0.59599999999999997</c:v>
                </c:pt>
                <c:pt idx="45">
                  <c:v>0.63400000000000001</c:v>
                </c:pt>
                <c:pt idx="46">
                  <c:v>0.72199999999999998</c:v>
                </c:pt>
                <c:pt idx="47">
                  <c:v>0.53400000000000003</c:v>
                </c:pt>
                <c:pt idx="48">
                  <c:v>0.498</c:v>
                </c:pt>
                <c:pt idx="49">
                  <c:v>0.65500000000000003</c:v>
                </c:pt>
                <c:pt idx="50">
                  <c:v>0.52500000000000002</c:v>
                </c:pt>
                <c:pt idx="51">
                  <c:v>0.32200000000000001</c:v>
                </c:pt>
                <c:pt idx="52">
                  <c:v>2E-3</c:v>
                </c:pt>
                <c:pt idx="53">
                  <c:v>4.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5</c:f>
              <c:strCache>
                <c:ptCount val="54"/>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pt idx="13">
                  <c:v>Schick</c:v>
                </c:pt>
                <c:pt idx="14">
                  <c:v>Gillette</c:v>
                </c:pt>
                <c:pt idx="15">
                  <c:v>Equate</c:v>
                </c:pt>
                <c:pt idx="16">
                  <c:v>Gillette</c:v>
                </c:pt>
                <c:pt idx="17">
                  <c:v>Gillette</c:v>
                </c:pt>
                <c:pt idx="18">
                  <c:v>Equate</c:v>
                </c:pt>
                <c:pt idx="19">
                  <c:v>Bic</c:v>
                </c:pt>
                <c:pt idx="20">
                  <c:v>Gillette</c:v>
                </c:pt>
                <c:pt idx="21">
                  <c:v>Bic</c:v>
                </c:pt>
                <c:pt idx="22">
                  <c:v>Equate</c:v>
                </c:pt>
                <c:pt idx="23">
                  <c:v>Bic</c:v>
                </c:pt>
                <c:pt idx="24">
                  <c:v>Bic</c:v>
                </c:pt>
                <c:pt idx="25">
                  <c:v>Equate</c:v>
                </c:pt>
                <c:pt idx="26">
                  <c:v>Gillette</c:v>
                </c:pt>
                <c:pt idx="27">
                  <c:v>Schick</c:v>
                </c:pt>
                <c:pt idx="28">
                  <c:v>Bic</c:v>
                </c:pt>
                <c:pt idx="29">
                  <c:v>Gillette</c:v>
                </c:pt>
                <c:pt idx="30">
                  <c:v>Gillette</c:v>
                </c:pt>
                <c:pt idx="31">
                  <c:v>Bic</c:v>
                </c:pt>
                <c:pt idx="32">
                  <c:v>Equate</c:v>
                </c:pt>
                <c:pt idx="33">
                  <c:v>Bic</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Gillette</c:v>
                </c:pt>
                <c:pt idx="48">
                  <c:v>Bic</c:v>
                </c:pt>
                <c:pt idx="49">
                  <c:v>Harry's</c:v>
                </c:pt>
                <c:pt idx="50">
                  <c:v>Harry's</c:v>
                </c:pt>
                <c:pt idx="51">
                  <c:v>Gillette</c:v>
                </c:pt>
                <c:pt idx="52">
                  <c:v>Bic</c:v>
                </c:pt>
                <c:pt idx="53">
                  <c:v>Equate</c:v>
                </c:pt>
              </c:strCache>
            </c:strRef>
          </c:cat>
          <c:val>
            <c:numRef>
              <c:f>Sheet1!$C$2:$C$55</c:f>
              <c:numCache>
                <c:formatCode>General</c:formatCode>
                <c:ptCount val="54"/>
                <c:pt idx="0">
                  <c:v>6.7910148356552555E-2</c:v>
                </c:pt>
                <c:pt idx="1">
                  <c:v>0.12219436758468043</c:v>
                </c:pt>
                <c:pt idx="2">
                  <c:v>0.17629512021373683</c:v>
                </c:pt>
                <c:pt idx="3">
                  <c:v>0.22306920056492457</c:v>
                </c:pt>
                <c:pt idx="4">
                  <c:v>0.26617974697618846</c:v>
                </c:pt>
                <c:pt idx="5">
                  <c:v>0.30406581293863993</c:v>
                </c:pt>
                <c:pt idx="6">
                  <c:v>0.33997815881473592</c:v>
                </c:pt>
                <c:pt idx="7">
                  <c:v>0.37516253523654641</c:v>
                </c:pt>
                <c:pt idx="8">
                  <c:v>0.40864299830300349</c:v>
                </c:pt>
                <c:pt idx="9">
                  <c:v>0.44106545478286069</c:v>
                </c:pt>
                <c:pt idx="10">
                  <c:v>0.4715835142419123</c:v>
                </c:pt>
                <c:pt idx="11">
                  <c:v>0.49878162007985644</c:v>
                </c:pt>
                <c:pt idx="12">
                  <c:v>0.524081503996637</c:v>
                </c:pt>
                <c:pt idx="13">
                  <c:v>0.54912212644766989</c:v>
                </c:pt>
                <c:pt idx="14">
                  <c:v>0.5736634126631921</c:v>
                </c:pt>
                <c:pt idx="15">
                  <c:v>0.5974708757513949</c:v>
                </c:pt>
                <c:pt idx="16">
                  <c:v>0.62072508947187788</c:v>
                </c:pt>
                <c:pt idx="17">
                  <c:v>0.6437367744540714</c:v>
                </c:pt>
                <c:pt idx="18">
                  <c:v>0.66609256371754</c:v>
                </c:pt>
                <c:pt idx="19">
                  <c:v>0.68831155505290476</c:v>
                </c:pt>
                <c:pt idx="20">
                  <c:v>0.71049167231254562</c:v>
                </c:pt>
                <c:pt idx="21">
                  <c:v>0.73260982223093474</c:v>
                </c:pt>
                <c:pt idx="22">
                  <c:v>0.75465573770045935</c:v>
                </c:pt>
                <c:pt idx="23">
                  <c:v>0.77510158533413454</c:v>
                </c:pt>
                <c:pt idx="24">
                  <c:v>0.79546744719266793</c:v>
                </c:pt>
                <c:pt idx="25">
                  <c:v>0.81558296099254446</c:v>
                </c:pt>
                <c:pt idx="26">
                  <c:v>0.83558984496148259</c:v>
                </c:pt>
                <c:pt idx="27">
                  <c:v>0.85416969369144513</c:v>
                </c:pt>
                <c:pt idx="28">
                  <c:v>0.87049231170424413</c:v>
                </c:pt>
                <c:pt idx="29">
                  <c:v>0.88650667541870098</c:v>
                </c:pt>
                <c:pt idx="30">
                  <c:v>0.90080811965149976</c:v>
                </c:pt>
                <c:pt idx="31">
                  <c:v>0.91266382264283052</c:v>
                </c:pt>
                <c:pt idx="32">
                  <c:v>0.92349909505429151</c:v>
                </c:pt>
                <c:pt idx="33">
                  <c:v>0.93357919419412549</c:v>
                </c:pt>
                <c:pt idx="34">
                  <c:v>0.94240160664842743</c:v>
                </c:pt>
                <c:pt idx="35">
                  <c:v>0.94941274307902668</c:v>
                </c:pt>
                <c:pt idx="36">
                  <c:v>0.95548857753062588</c:v>
                </c:pt>
                <c:pt idx="37">
                  <c:v>0.9606295488741704</c:v>
                </c:pt>
                <c:pt idx="38">
                  <c:v>0.96503594297412287</c:v>
                </c:pt>
                <c:pt idx="39">
                  <c:v>0.96934843723557618</c:v>
                </c:pt>
                <c:pt idx="40">
                  <c:v>0.97303353766463985</c:v>
                </c:pt>
                <c:pt idx="41">
                  <c:v>0.9765829527961658</c:v>
                </c:pt>
                <c:pt idx="42">
                  <c:v>0.97991142422238497</c:v>
                </c:pt>
                <c:pt idx="43">
                  <c:v>0.98319421598258416</c:v>
                </c:pt>
                <c:pt idx="44">
                  <c:v>0.98616388877635486</c:v>
                </c:pt>
                <c:pt idx="45">
                  <c:v>0.98900959598121763</c:v>
                </c:pt>
                <c:pt idx="46">
                  <c:v>0.99177897054796393</c:v>
                </c:pt>
                <c:pt idx="47">
                  <c:v>0.99413719103284515</c:v>
                </c:pt>
                <c:pt idx="48">
                  <c:v>0.99645748317798366</c:v>
                </c:pt>
                <c:pt idx="49">
                  <c:v>0.99820370740125408</c:v>
                </c:pt>
                <c:pt idx="50">
                  <c:v>0.99972803600195559</c:v>
                </c:pt>
                <c:pt idx="51">
                  <c:v>0.99991377731240672</c:v>
                </c:pt>
                <c:pt idx="52">
                  <c:v>0.99994259444406908</c:v>
                </c:pt>
                <c:pt idx="53">
                  <c:v>0.9999631162967329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Gillette</c:v>
                </c:pt>
                <c:pt idx="1">
                  <c:v>Schick</c:v>
                </c:pt>
                <c:pt idx="2">
                  <c:v>Gillette</c:v>
                </c:pt>
                <c:pt idx="3">
                  <c:v>Bic</c:v>
                </c:pt>
                <c:pt idx="4">
                  <c:v>Schick</c:v>
                </c:pt>
                <c:pt idx="5">
                  <c:v>Pbg Pl</c:v>
                </c:pt>
                <c:pt idx="6">
                  <c:v>Schick</c:v>
                </c:pt>
              </c:strCache>
            </c:strRef>
          </c:cat>
          <c:val>
            <c:numRef>
              <c:f>Sheet1!$B$2:$B$8</c:f>
              <c:numCache>
                <c:formatCode>General</c:formatCode>
                <c:ptCount val="7"/>
                <c:pt idx="0">
                  <c:v>1</c:v>
                </c:pt>
                <c:pt idx="1">
                  <c:v>0.99</c:v>
                </c:pt>
                <c:pt idx="2">
                  <c:v>0.99</c:v>
                </c:pt>
                <c:pt idx="3">
                  <c:v>0.8</c:v>
                </c:pt>
                <c:pt idx="4">
                  <c:v>0.86</c:v>
                </c:pt>
                <c:pt idx="5">
                  <c:v>0.57999999999999996</c:v>
                </c:pt>
                <c:pt idx="6">
                  <c:v>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Gillette</c:v>
                </c:pt>
                <c:pt idx="1">
                  <c:v>Schick</c:v>
                </c:pt>
                <c:pt idx="2">
                  <c:v>Gillette</c:v>
                </c:pt>
                <c:pt idx="3">
                  <c:v>Bic</c:v>
                </c:pt>
                <c:pt idx="4">
                  <c:v>Schick</c:v>
                </c:pt>
                <c:pt idx="5">
                  <c:v>Pbg Pl</c:v>
                </c:pt>
                <c:pt idx="6">
                  <c:v>Schick</c:v>
                </c:pt>
              </c:strCache>
            </c:strRef>
          </c:cat>
          <c:val>
            <c:numRef>
              <c:f>Sheet1!$C$2:$C$8</c:f>
              <c:numCache>
                <c:formatCode>General</c:formatCode>
                <c:ptCount val="7"/>
                <c:pt idx="0">
                  <c:v>0.45040300931672739</c:v>
                </c:pt>
                <c:pt idx="1">
                  <c:v>0.71928998419775114</c:v>
                </c:pt>
                <c:pt idx="2">
                  <c:v>0.91574454650785286</c:v>
                </c:pt>
                <c:pt idx="3">
                  <c:v>0.96033954649939213</c:v>
                </c:pt>
                <c:pt idx="4">
                  <c:v>0.98938732866090862</c:v>
                </c:pt>
                <c:pt idx="5">
                  <c:v>0.99732084560040202</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Gillette</c:v>
                </c:pt>
                <c:pt idx="1">
                  <c:v>Schick</c:v>
                </c:pt>
                <c:pt idx="2">
                  <c:v>Gillette</c:v>
                </c:pt>
                <c:pt idx="3">
                  <c:v>Schick</c:v>
                </c:pt>
                <c:pt idx="4">
                  <c:v>Bic</c:v>
                </c:pt>
                <c:pt idx="5">
                  <c:v>Bic</c:v>
                </c:pt>
              </c:strCache>
            </c:strRef>
          </c:cat>
          <c:val>
            <c:numRef>
              <c:f>Sheet1!$B$2:$B$7</c:f>
              <c:numCache>
                <c:formatCode>General</c:formatCode>
                <c:ptCount val="6"/>
                <c:pt idx="0">
                  <c:v>1</c:v>
                </c:pt>
                <c:pt idx="1">
                  <c:v>0.97</c:v>
                </c:pt>
                <c:pt idx="2">
                  <c:v>0.1</c:v>
                </c:pt>
                <c:pt idx="3">
                  <c:v>0.71</c:v>
                </c:pt>
                <c:pt idx="4">
                  <c:v>0.06</c:v>
                </c:pt>
                <c:pt idx="5">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Gillette</c:v>
                </c:pt>
                <c:pt idx="1">
                  <c:v>Schick</c:v>
                </c:pt>
                <c:pt idx="2">
                  <c:v>Gillette</c:v>
                </c:pt>
                <c:pt idx="3">
                  <c:v>Schick</c:v>
                </c:pt>
                <c:pt idx="4">
                  <c:v>Bic</c:v>
                </c:pt>
                <c:pt idx="5">
                  <c:v>Bic</c:v>
                </c:pt>
              </c:strCache>
            </c:strRef>
          </c:cat>
          <c:val>
            <c:numRef>
              <c:f>Sheet1!$C$2:$C$7</c:f>
              <c:numCache>
                <c:formatCode>General</c:formatCode>
                <c:ptCount val="6"/>
                <c:pt idx="0">
                  <c:v>0.54988077895786913</c:v>
                </c:pt>
                <c:pt idx="1">
                  <c:v>0.92941923194066789</c:v>
                </c:pt>
                <c:pt idx="2">
                  <c:v>0.96014406729614188</c:v>
                </c:pt>
                <c:pt idx="3">
                  <c:v>0.9807419148953388</c:v>
                </c:pt>
                <c:pt idx="4">
                  <c:v>0.99645565113249235</c:v>
                </c:pt>
                <c:pt idx="5">
                  <c:v>0.999794554829196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4</c:f>
              <c:strCache>
                <c:ptCount val="53"/>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pt idx="12">
                  <c:v>Gillette</c:v>
                </c:pt>
                <c:pt idx="13">
                  <c:v>Schick</c:v>
                </c:pt>
                <c:pt idx="14">
                  <c:v>Gillette</c:v>
                </c:pt>
                <c:pt idx="15">
                  <c:v>Gillette</c:v>
                </c:pt>
                <c:pt idx="16">
                  <c:v>Equate</c:v>
                </c:pt>
                <c:pt idx="17">
                  <c:v>Gillette</c:v>
                </c:pt>
                <c:pt idx="18">
                  <c:v>Gillette</c:v>
                </c:pt>
                <c:pt idx="19">
                  <c:v>Schick</c:v>
                </c:pt>
                <c:pt idx="20">
                  <c:v>Bic</c:v>
                </c:pt>
                <c:pt idx="21">
                  <c:v>Equate</c:v>
                </c:pt>
                <c:pt idx="22">
                  <c:v>Bic</c:v>
                </c:pt>
                <c:pt idx="23">
                  <c:v>Bic</c:v>
                </c:pt>
                <c:pt idx="24">
                  <c:v>Equate</c:v>
                </c:pt>
                <c:pt idx="25">
                  <c:v>Schick</c:v>
                </c:pt>
                <c:pt idx="26">
                  <c:v>Gillette</c:v>
                </c:pt>
                <c:pt idx="27">
                  <c:v>Equate</c:v>
                </c:pt>
                <c:pt idx="28">
                  <c:v>Bic</c:v>
                </c:pt>
                <c:pt idx="29">
                  <c:v>Bic</c:v>
                </c:pt>
                <c:pt idx="30">
                  <c:v>Gillette</c:v>
                </c:pt>
                <c:pt idx="31">
                  <c:v>Bic</c:v>
                </c:pt>
                <c:pt idx="32">
                  <c:v>Bic</c:v>
                </c:pt>
                <c:pt idx="33">
                  <c:v>Equate</c:v>
                </c:pt>
                <c:pt idx="34">
                  <c:v>Bic</c:v>
                </c:pt>
                <c:pt idx="35">
                  <c:v>Gillette</c:v>
                </c:pt>
                <c:pt idx="36">
                  <c:v>Gillette</c:v>
                </c:pt>
                <c:pt idx="37">
                  <c:v>Gillette</c:v>
                </c:pt>
                <c:pt idx="38">
                  <c:v>Bic</c:v>
                </c:pt>
                <c:pt idx="39">
                  <c:v>Schick</c:v>
                </c:pt>
                <c:pt idx="40">
                  <c:v>Bic</c:v>
                </c:pt>
                <c:pt idx="41">
                  <c:v>Schick</c:v>
                </c:pt>
                <c:pt idx="42">
                  <c:v>Schick</c:v>
                </c:pt>
                <c:pt idx="43">
                  <c:v>Gillette</c:v>
                </c:pt>
                <c:pt idx="44">
                  <c:v>Gillette</c:v>
                </c:pt>
                <c:pt idx="45">
                  <c:v>Bic</c:v>
                </c:pt>
                <c:pt idx="46">
                  <c:v>Bic</c:v>
                </c:pt>
                <c:pt idx="47">
                  <c:v>Harry's</c:v>
                </c:pt>
                <c:pt idx="48">
                  <c:v>Harry's</c:v>
                </c:pt>
                <c:pt idx="49">
                  <c:v>Schick</c:v>
                </c:pt>
                <c:pt idx="50">
                  <c:v>Gillette</c:v>
                </c:pt>
                <c:pt idx="51">
                  <c:v>Bic</c:v>
                </c:pt>
                <c:pt idx="52">
                  <c:v>Bic</c:v>
                </c:pt>
              </c:strCache>
            </c:strRef>
          </c:cat>
          <c:val>
            <c:numRef>
              <c:f>Sheet1!$B$2:$B$54</c:f>
              <c:numCache>
                <c:formatCode>General</c:formatCode>
                <c:ptCount val="53"/>
                <c:pt idx="0">
                  <c:v>0.94</c:v>
                </c:pt>
                <c:pt idx="1">
                  <c:v>0.96</c:v>
                </c:pt>
                <c:pt idx="2">
                  <c:v>0.98</c:v>
                </c:pt>
                <c:pt idx="3">
                  <c:v>0.88</c:v>
                </c:pt>
                <c:pt idx="4">
                  <c:v>0.98</c:v>
                </c:pt>
                <c:pt idx="5">
                  <c:v>0.77</c:v>
                </c:pt>
                <c:pt idx="6">
                  <c:v>0.81</c:v>
                </c:pt>
                <c:pt idx="7">
                  <c:v>0.95</c:v>
                </c:pt>
                <c:pt idx="8">
                  <c:v>0.99</c:v>
                </c:pt>
                <c:pt idx="9">
                  <c:v>0.95</c:v>
                </c:pt>
                <c:pt idx="10">
                  <c:v>0.94</c:v>
                </c:pt>
                <c:pt idx="11">
                  <c:v>0.76</c:v>
                </c:pt>
                <c:pt idx="12">
                  <c:v>0.67</c:v>
                </c:pt>
                <c:pt idx="13">
                  <c:v>0.87</c:v>
                </c:pt>
                <c:pt idx="14">
                  <c:v>0.82</c:v>
                </c:pt>
                <c:pt idx="15">
                  <c:v>0.71</c:v>
                </c:pt>
                <c:pt idx="16">
                  <c:v>0.99</c:v>
                </c:pt>
                <c:pt idx="17">
                  <c:v>0.84</c:v>
                </c:pt>
                <c:pt idx="18">
                  <c:v>0.91</c:v>
                </c:pt>
                <c:pt idx="19">
                  <c:v>0.95</c:v>
                </c:pt>
                <c:pt idx="20">
                  <c:v>0.77</c:v>
                </c:pt>
                <c:pt idx="21">
                  <c:v>0.9</c:v>
                </c:pt>
                <c:pt idx="22">
                  <c:v>0.9</c:v>
                </c:pt>
                <c:pt idx="23">
                  <c:v>0.95</c:v>
                </c:pt>
                <c:pt idx="24">
                  <c:v>0.95</c:v>
                </c:pt>
                <c:pt idx="25">
                  <c:v>0.68</c:v>
                </c:pt>
                <c:pt idx="26">
                  <c:v>0.69</c:v>
                </c:pt>
                <c:pt idx="27">
                  <c:v>0.94</c:v>
                </c:pt>
                <c:pt idx="28">
                  <c:v>0.85</c:v>
                </c:pt>
                <c:pt idx="29">
                  <c:v>0.84</c:v>
                </c:pt>
                <c:pt idx="30">
                  <c:v>0.7</c:v>
                </c:pt>
                <c:pt idx="31">
                  <c:v>0.77</c:v>
                </c:pt>
                <c:pt idx="32">
                  <c:v>0.83</c:v>
                </c:pt>
                <c:pt idx="33">
                  <c:v>0.97</c:v>
                </c:pt>
                <c:pt idx="34">
                  <c:v>0.81</c:v>
                </c:pt>
                <c:pt idx="35">
                  <c:v>0.78</c:v>
                </c:pt>
                <c:pt idx="36">
                  <c:v>0.77</c:v>
                </c:pt>
                <c:pt idx="37">
                  <c:v>0.6</c:v>
                </c:pt>
                <c:pt idx="38">
                  <c:v>0.73</c:v>
                </c:pt>
                <c:pt idx="39">
                  <c:v>0.84</c:v>
                </c:pt>
                <c:pt idx="40">
                  <c:v>0.78</c:v>
                </c:pt>
                <c:pt idx="41">
                  <c:v>0.64</c:v>
                </c:pt>
                <c:pt idx="42">
                  <c:v>0.88</c:v>
                </c:pt>
                <c:pt idx="43">
                  <c:v>0.61</c:v>
                </c:pt>
                <c:pt idx="44">
                  <c:v>0.65</c:v>
                </c:pt>
                <c:pt idx="45">
                  <c:v>0.48</c:v>
                </c:pt>
                <c:pt idx="46">
                  <c:v>0.67</c:v>
                </c:pt>
                <c:pt idx="47">
                  <c:v>0.61</c:v>
                </c:pt>
                <c:pt idx="48">
                  <c:v>0.48</c:v>
                </c:pt>
                <c:pt idx="49">
                  <c:v>0.04</c:v>
                </c:pt>
                <c:pt idx="50">
                  <c:v>0.36</c:v>
                </c:pt>
                <c:pt idx="51">
                  <c:v>0.03</c:v>
                </c:pt>
                <c:pt idx="52">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4</c:f>
              <c:strCache>
                <c:ptCount val="53"/>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pt idx="12">
                  <c:v>Gillette</c:v>
                </c:pt>
                <c:pt idx="13">
                  <c:v>Schick</c:v>
                </c:pt>
                <c:pt idx="14">
                  <c:v>Gillette</c:v>
                </c:pt>
                <c:pt idx="15">
                  <c:v>Gillette</c:v>
                </c:pt>
                <c:pt idx="16">
                  <c:v>Equate</c:v>
                </c:pt>
                <c:pt idx="17">
                  <c:v>Gillette</c:v>
                </c:pt>
                <c:pt idx="18">
                  <c:v>Gillette</c:v>
                </c:pt>
                <c:pt idx="19">
                  <c:v>Schick</c:v>
                </c:pt>
                <c:pt idx="20">
                  <c:v>Bic</c:v>
                </c:pt>
                <c:pt idx="21">
                  <c:v>Equate</c:v>
                </c:pt>
                <c:pt idx="22">
                  <c:v>Bic</c:v>
                </c:pt>
                <c:pt idx="23">
                  <c:v>Bic</c:v>
                </c:pt>
                <c:pt idx="24">
                  <c:v>Equate</c:v>
                </c:pt>
                <c:pt idx="25">
                  <c:v>Schick</c:v>
                </c:pt>
                <c:pt idx="26">
                  <c:v>Gillette</c:v>
                </c:pt>
                <c:pt idx="27">
                  <c:v>Equate</c:v>
                </c:pt>
                <c:pt idx="28">
                  <c:v>Bic</c:v>
                </c:pt>
                <c:pt idx="29">
                  <c:v>Bic</c:v>
                </c:pt>
                <c:pt idx="30">
                  <c:v>Gillette</c:v>
                </c:pt>
                <c:pt idx="31">
                  <c:v>Bic</c:v>
                </c:pt>
                <c:pt idx="32">
                  <c:v>Bic</c:v>
                </c:pt>
                <c:pt idx="33">
                  <c:v>Equate</c:v>
                </c:pt>
                <c:pt idx="34">
                  <c:v>Bic</c:v>
                </c:pt>
                <c:pt idx="35">
                  <c:v>Gillette</c:v>
                </c:pt>
                <c:pt idx="36">
                  <c:v>Gillette</c:v>
                </c:pt>
                <c:pt idx="37">
                  <c:v>Gillette</c:v>
                </c:pt>
                <c:pt idx="38">
                  <c:v>Bic</c:v>
                </c:pt>
                <c:pt idx="39">
                  <c:v>Schick</c:v>
                </c:pt>
                <c:pt idx="40">
                  <c:v>Bic</c:v>
                </c:pt>
                <c:pt idx="41">
                  <c:v>Schick</c:v>
                </c:pt>
                <c:pt idx="42">
                  <c:v>Schick</c:v>
                </c:pt>
                <c:pt idx="43">
                  <c:v>Gillette</c:v>
                </c:pt>
                <c:pt idx="44">
                  <c:v>Gillette</c:v>
                </c:pt>
                <c:pt idx="45">
                  <c:v>Bic</c:v>
                </c:pt>
                <c:pt idx="46">
                  <c:v>Bic</c:v>
                </c:pt>
                <c:pt idx="47">
                  <c:v>Harry's</c:v>
                </c:pt>
                <c:pt idx="48">
                  <c:v>Harry's</c:v>
                </c:pt>
                <c:pt idx="49">
                  <c:v>Schick</c:v>
                </c:pt>
                <c:pt idx="50">
                  <c:v>Gillette</c:v>
                </c:pt>
                <c:pt idx="51">
                  <c:v>Bic</c:v>
                </c:pt>
                <c:pt idx="52">
                  <c:v>Bic</c:v>
                </c:pt>
              </c:strCache>
            </c:strRef>
          </c:cat>
          <c:val>
            <c:numRef>
              <c:f>Sheet1!$C$2:$C$54</c:f>
              <c:numCache>
                <c:formatCode>General</c:formatCode>
                <c:ptCount val="53"/>
                <c:pt idx="0">
                  <c:v>7.3717593719280022E-2</c:v>
                </c:pt>
                <c:pt idx="1">
                  <c:v>0.12889610252734976</c:v>
                </c:pt>
                <c:pt idx="2">
                  <c:v>0.18048362463615092</c:v>
                </c:pt>
                <c:pt idx="3">
                  <c:v>0.23044884459357171</c:v>
                </c:pt>
                <c:pt idx="4">
                  <c:v>0.27695591270305125</c:v>
                </c:pt>
                <c:pt idx="5">
                  <c:v>0.32044395814130855</c:v>
                </c:pt>
                <c:pt idx="6">
                  <c:v>0.35709418972082069</c:v>
                </c:pt>
                <c:pt idx="7">
                  <c:v>0.39362193423026881</c:v>
                </c:pt>
                <c:pt idx="8">
                  <c:v>0.42807851283220688</c:v>
                </c:pt>
                <c:pt idx="9">
                  <c:v>0.4618246204376345</c:v>
                </c:pt>
                <c:pt idx="10">
                  <c:v>0.49332541280940345</c:v>
                </c:pt>
                <c:pt idx="11">
                  <c:v>0.5232980295141717</c:v>
                </c:pt>
                <c:pt idx="12">
                  <c:v>0.55239913308588084</c:v>
                </c:pt>
                <c:pt idx="13">
                  <c:v>0.57871315758712738</c:v>
                </c:pt>
                <c:pt idx="14">
                  <c:v>0.60410653615687238</c:v>
                </c:pt>
                <c:pt idx="15">
                  <c:v>0.6289468833057712</c:v>
                </c:pt>
                <c:pt idx="16">
                  <c:v>0.65283446807613665</c:v>
                </c:pt>
                <c:pt idx="17">
                  <c:v>0.6760607912986657</c:v>
                </c:pt>
                <c:pt idx="18">
                  <c:v>0.69904168047967719</c:v>
                </c:pt>
                <c:pt idx="19">
                  <c:v>0.72112637515306099</c:v>
                </c:pt>
                <c:pt idx="20">
                  <c:v>0.74147892789321102</c:v>
                </c:pt>
                <c:pt idx="21">
                  <c:v>0.76116853278042973</c:v>
                </c:pt>
                <c:pt idx="22">
                  <c:v>0.77967289513673455</c:v>
                </c:pt>
                <c:pt idx="23">
                  <c:v>0.79782834563888938</c:v>
                </c:pt>
                <c:pt idx="24">
                  <c:v>0.81596693309009671</c:v>
                </c:pt>
                <c:pt idx="25">
                  <c:v>0.8335488099093421</c:v>
                </c:pt>
                <c:pt idx="26">
                  <c:v>0.85070320838706848</c:v>
                </c:pt>
                <c:pt idx="27">
                  <c:v>0.86785193474765798</c:v>
                </c:pt>
                <c:pt idx="28">
                  <c:v>0.88474863514681401</c:v>
                </c:pt>
                <c:pt idx="29">
                  <c:v>0.90023420478259131</c:v>
                </c:pt>
                <c:pt idx="30">
                  <c:v>0.91570551747529483</c:v>
                </c:pt>
                <c:pt idx="31">
                  <c:v>0.92563931083776807</c:v>
                </c:pt>
                <c:pt idx="32">
                  <c:v>0.93536783488007136</c:v>
                </c:pt>
                <c:pt idx="33">
                  <c:v>0.94480186873264616</c:v>
                </c:pt>
                <c:pt idx="34">
                  <c:v>0.9541147952193253</c:v>
                </c:pt>
                <c:pt idx="35">
                  <c:v>0.9613453648646838</c:v>
                </c:pt>
                <c:pt idx="36">
                  <c:v>0.96685666981571394</c:v>
                </c:pt>
                <c:pt idx="37">
                  <c:v>0.97121730149027241</c:v>
                </c:pt>
                <c:pt idx="38">
                  <c:v>0.97516141580642779</c:v>
                </c:pt>
                <c:pt idx="39">
                  <c:v>0.97841981715087289</c:v>
                </c:pt>
                <c:pt idx="40">
                  <c:v>0.98124667769152529</c:v>
                </c:pt>
                <c:pt idx="41">
                  <c:v>0.98406571990855662</c:v>
                </c:pt>
                <c:pt idx="42">
                  <c:v>0.98685333553064036</c:v>
                </c:pt>
                <c:pt idx="43">
                  <c:v>0.98963681204021881</c:v>
                </c:pt>
                <c:pt idx="44">
                  <c:v>0.99232508896217542</c:v>
                </c:pt>
                <c:pt idx="45">
                  <c:v>0.9945517781895602</c:v>
                </c:pt>
                <c:pt idx="46">
                  <c:v>0.99673056102220781</c:v>
                </c:pt>
                <c:pt idx="47">
                  <c:v>0.99811386775152322</c:v>
                </c:pt>
                <c:pt idx="48">
                  <c:v>0.99937200465266929</c:v>
                </c:pt>
                <c:pt idx="49">
                  <c:v>0.99963997386227121</c:v>
                </c:pt>
                <c:pt idx="50">
                  <c:v>0.99983251924399896</c:v>
                </c:pt>
                <c:pt idx="51">
                  <c:v>0.9999471113402103</c:v>
                </c:pt>
                <c:pt idx="52">
                  <c:v>0.9999675769520420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3</c:f>
              <c:strCache>
                <c:ptCount val="52"/>
                <c:pt idx="0">
                  <c:v>Gillette</c:v>
                </c:pt>
                <c:pt idx="1">
                  <c:v>Gillette</c:v>
                </c:pt>
                <c:pt idx="2">
                  <c:v>Gillette</c:v>
                </c:pt>
                <c:pt idx="3">
                  <c:v>Equate</c:v>
                </c:pt>
                <c:pt idx="4">
                  <c:v>Gillette</c:v>
                </c:pt>
                <c:pt idx="5">
                  <c:v>Gillette</c:v>
                </c:pt>
                <c:pt idx="6">
                  <c:v>Gillette</c:v>
                </c:pt>
                <c:pt idx="7">
                  <c:v>Bic</c:v>
                </c:pt>
                <c:pt idx="8">
                  <c:v>Schick</c:v>
                </c:pt>
                <c:pt idx="9">
                  <c:v>Schick</c:v>
                </c:pt>
                <c:pt idx="10">
                  <c:v>Gillette</c:v>
                </c:pt>
                <c:pt idx="11">
                  <c:v>Gillette</c:v>
                </c:pt>
                <c:pt idx="12">
                  <c:v>Bic</c:v>
                </c:pt>
                <c:pt idx="13">
                  <c:v>Equate</c:v>
                </c:pt>
                <c:pt idx="14">
                  <c:v>Schick</c:v>
                </c:pt>
                <c:pt idx="15">
                  <c:v>Gillette</c:v>
                </c:pt>
                <c:pt idx="16">
                  <c:v>Bic</c:v>
                </c:pt>
                <c:pt idx="17">
                  <c:v>Gillette</c:v>
                </c:pt>
                <c:pt idx="18">
                  <c:v>Gillette</c:v>
                </c:pt>
                <c:pt idx="19">
                  <c:v>Bic</c:v>
                </c:pt>
                <c:pt idx="20">
                  <c:v>Equate</c:v>
                </c:pt>
                <c:pt idx="21">
                  <c:v>Gillette</c:v>
                </c:pt>
                <c:pt idx="22">
                  <c:v>Equate</c:v>
                </c:pt>
                <c:pt idx="23">
                  <c:v>Equate</c:v>
                </c:pt>
                <c:pt idx="24">
                  <c:v>Bic</c:v>
                </c:pt>
                <c:pt idx="25">
                  <c:v>Equate</c:v>
                </c:pt>
                <c:pt idx="26">
                  <c:v>Gillette</c:v>
                </c:pt>
                <c:pt idx="27">
                  <c:v>Bic</c:v>
                </c:pt>
                <c:pt idx="28">
                  <c:v>Schick</c:v>
                </c:pt>
                <c:pt idx="29">
                  <c:v>Gillette</c:v>
                </c:pt>
                <c:pt idx="30">
                  <c:v>Bic</c:v>
                </c:pt>
                <c:pt idx="31">
                  <c:v>Gillette</c:v>
                </c:pt>
                <c:pt idx="32">
                  <c:v>Gillette</c:v>
                </c:pt>
                <c:pt idx="33">
                  <c:v>Gillette</c:v>
                </c:pt>
                <c:pt idx="34">
                  <c:v>Schick</c:v>
                </c:pt>
                <c:pt idx="35">
                  <c:v>Bic</c:v>
                </c:pt>
                <c:pt idx="36">
                  <c:v>Schick</c:v>
                </c:pt>
                <c:pt idx="37">
                  <c:v>Bic</c:v>
                </c:pt>
                <c:pt idx="38">
                  <c:v>Gillette</c:v>
                </c:pt>
                <c:pt idx="39">
                  <c:v>Bic</c:v>
                </c:pt>
                <c:pt idx="40">
                  <c:v>Bic</c:v>
                </c:pt>
                <c:pt idx="41">
                  <c:v>Bic</c:v>
                </c:pt>
                <c:pt idx="42">
                  <c:v>Gillette</c:v>
                </c:pt>
                <c:pt idx="43">
                  <c:v>Schick</c:v>
                </c:pt>
                <c:pt idx="44">
                  <c:v>Harry's</c:v>
                </c:pt>
                <c:pt idx="45">
                  <c:v>Harry's</c:v>
                </c:pt>
                <c:pt idx="46">
                  <c:v>Gillette</c:v>
                </c:pt>
                <c:pt idx="47">
                  <c:v>Bic</c:v>
                </c:pt>
                <c:pt idx="48">
                  <c:v>Gillette</c:v>
                </c:pt>
                <c:pt idx="49">
                  <c:v>Gillette</c:v>
                </c:pt>
                <c:pt idx="50">
                  <c:v>Equate</c:v>
                </c:pt>
                <c:pt idx="51">
                  <c:v>Bic</c:v>
                </c:pt>
              </c:strCache>
            </c:strRef>
          </c:cat>
          <c:val>
            <c:numRef>
              <c:f>Sheet1!$B$2:$B$53</c:f>
              <c:numCache>
                <c:formatCode>General</c:formatCode>
                <c:ptCount val="52"/>
                <c:pt idx="0">
                  <c:v>0.73</c:v>
                </c:pt>
                <c:pt idx="1">
                  <c:v>0.9</c:v>
                </c:pt>
                <c:pt idx="2">
                  <c:v>0.8</c:v>
                </c:pt>
                <c:pt idx="3">
                  <c:v>0.91</c:v>
                </c:pt>
                <c:pt idx="4">
                  <c:v>0.87</c:v>
                </c:pt>
                <c:pt idx="5">
                  <c:v>0.56000000000000005</c:v>
                </c:pt>
                <c:pt idx="6">
                  <c:v>0.81</c:v>
                </c:pt>
                <c:pt idx="7">
                  <c:v>0.94</c:v>
                </c:pt>
                <c:pt idx="8">
                  <c:v>0.77</c:v>
                </c:pt>
                <c:pt idx="9">
                  <c:v>0.65</c:v>
                </c:pt>
                <c:pt idx="10">
                  <c:v>0.45</c:v>
                </c:pt>
                <c:pt idx="11">
                  <c:v>0.73</c:v>
                </c:pt>
                <c:pt idx="12">
                  <c:v>0.85</c:v>
                </c:pt>
                <c:pt idx="13">
                  <c:v>0.95</c:v>
                </c:pt>
                <c:pt idx="14">
                  <c:v>0.81</c:v>
                </c:pt>
                <c:pt idx="15">
                  <c:v>0.51</c:v>
                </c:pt>
                <c:pt idx="16">
                  <c:v>0.7</c:v>
                </c:pt>
                <c:pt idx="17">
                  <c:v>0.31</c:v>
                </c:pt>
                <c:pt idx="18">
                  <c:v>0.56999999999999995</c:v>
                </c:pt>
                <c:pt idx="19">
                  <c:v>0.62</c:v>
                </c:pt>
                <c:pt idx="20">
                  <c:v>0.82</c:v>
                </c:pt>
                <c:pt idx="21">
                  <c:v>0.45</c:v>
                </c:pt>
                <c:pt idx="22">
                  <c:v>0.65</c:v>
                </c:pt>
                <c:pt idx="23">
                  <c:v>0.74</c:v>
                </c:pt>
                <c:pt idx="24">
                  <c:v>0.39</c:v>
                </c:pt>
                <c:pt idx="25">
                  <c:v>0.95</c:v>
                </c:pt>
                <c:pt idx="26">
                  <c:v>0.23</c:v>
                </c:pt>
                <c:pt idx="27">
                  <c:v>0.57999999999999996</c:v>
                </c:pt>
                <c:pt idx="28">
                  <c:v>0.3</c:v>
                </c:pt>
                <c:pt idx="29">
                  <c:v>0.32</c:v>
                </c:pt>
                <c:pt idx="30">
                  <c:v>0.48</c:v>
                </c:pt>
                <c:pt idx="31">
                  <c:v>0.44</c:v>
                </c:pt>
                <c:pt idx="32">
                  <c:v>0.41</c:v>
                </c:pt>
                <c:pt idx="33">
                  <c:v>0.4</c:v>
                </c:pt>
                <c:pt idx="34">
                  <c:v>0.71</c:v>
                </c:pt>
                <c:pt idx="35">
                  <c:v>0.38</c:v>
                </c:pt>
                <c:pt idx="36">
                  <c:v>0.61</c:v>
                </c:pt>
                <c:pt idx="37">
                  <c:v>0.53</c:v>
                </c:pt>
                <c:pt idx="38">
                  <c:v>0.24</c:v>
                </c:pt>
                <c:pt idx="39">
                  <c:v>0.11</c:v>
                </c:pt>
                <c:pt idx="40">
                  <c:v>0.37</c:v>
                </c:pt>
                <c:pt idx="41">
                  <c:v>0.11</c:v>
                </c:pt>
                <c:pt idx="42">
                  <c:v>0.33</c:v>
                </c:pt>
                <c:pt idx="43">
                  <c:v>0.24</c:v>
                </c:pt>
                <c:pt idx="44">
                  <c:v>0.34</c:v>
                </c:pt>
                <c:pt idx="45">
                  <c:v>0.22</c:v>
                </c:pt>
                <c:pt idx="46">
                  <c:v>0.01</c:v>
                </c:pt>
                <c:pt idx="47">
                  <c:v>0.05</c:v>
                </c:pt>
                <c:pt idx="48">
                  <c:v>0.05</c:v>
                </c:pt>
                <c:pt idx="49">
                  <c:v>0.16</c:v>
                </c:pt>
                <c:pt idx="50">
                  <c:v>0.06</c:v>
                </c:pt>
                <c:pt idx="5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3</c:f>
              <c:strCache>
                <c:ptCount val="52"/>
                <c:pt idx="0">
                  <c:v>Gillette</c:v>
                </c:pt>
                <c:pt idx="1">
                  <c:v>Gillette</c:v>
                </c:pt>
                <c:pt idx="2">
                  <c:v>Gillette</c:v>
                </c:pt>
                <c:pt idx="3">
                  <c:v>Equate</c:v>
                </c:pt>
                <c:pt idx="4">
                  <c:v>Gillette</c:v>
                </c:pt>
                <c:pt idx="5">
                  <c:v>Gillette</c:v>
                </c:pt>
                <c:pt idx="6">
                  <c:v>Gillette</c:v>
                </c:pt>
                <c:pt idx="7">
                  <c:v>Bic</c:v>
                </c:pt>
                <c:pt idx="8">
                  <c:v>Schick</c:v>
                </c:pt>
                <c:pt idx="9">
                  <c:v>Schick</c:v>
                </c:pt>
                <c:pt idx="10">
                  <c:v>Gillette</c:v>
                </c:pt>
                <c:pt idx="11">
                  <c:v>Gillette</c:v>
                </c:pt>
                <c:pt idx="12">
                  <c:v>Bic</c:v>
                </c:pt>
                <c:pt idx="13">
                  <c:v>Equate</c:v>
                </c:pt>
                <c:pt idx="14">
                  <c:v>Schick</c:v>
                </c:pt>
                <c:pt idx="15">
                  <c:v>Gillette</c:v>
                </c:pt>
                <c:pt idx="16">
                  <c:v>Bic</c:v>
                </c:pt>
                <c:pt idx="17">
                  <c:v>Gillette</c:v>
                </c:pt>
                <c:pt idx="18">
                  <c:v>Gillette</c:v>
                </c:pt>
                <c:pt idx="19">
                  <c:v>Bic</c:v>
                </c:pt>
                <c:pt idx="20">
                  <c:v>Equate</c:v>
                </c:pt>
                <c:pt idx="21">
                  <c:v>Gillette</c:v>
                </c:pt>
                <c:pt idx="22">
                  <c:v>Equate</c:v>
                </c:pt>
                <c:pt idx="23">
                  <c:v>Equate</c:v>
                </c:pt>
                <c:pt idx="24">
                  <c:v>Bic</c:v>
                </c:pt>
                <c:pt idx="25">
                  <c:v>Equate</c:v>
                </c:pt>
                <c:pt idx="26">
                  <c:v>Gillette</c:v>
                </c:pt>
                <c:pt idx="27">
                  <c:v>Bic</c:v>
                </c:pt>
                <c:pt idx="28">
                  <c:v>Schick</c:v>
                </c:pt>
                <c:pt idx="29">
                  <c:v>Gillette</c:v>
                </c:pt>
                <c:pt idx="30">
                  <c:v>Bic</c:v>
                </c:pt>
                <c:pt idx="31">
                  <c:v>Gillette</c:v>
                </c:pt>
                <c:pt idx="32">
                  <c:v>Gillette</c:v>
                </c:pt>
                <c:pt idx="33">
                  <c:v>Gillette</c:v>
                </c:pt>
                <c:pt idx="34">
                  <c:v>Schick</c:v>
                </c:pt>
                <c:pt idx="35">
                  <c:v>Bic</c:v>
                </c:pt>
                <c:pt idx="36">
                  <c:v>Schick</c:v>
                </c:pt>
                <c:pt idx="37">
                  <c:v>Bic</c:v>
                </c:pt>
                <c:pt idx="38">
                  <c:v>Gillette</c:v>
                </c:pt>
                <c:pt idx="39">
                  <c:v>Bic</c:v>
                </c:pt>
                <c:pt idx="40">
                  <c:v>Bic</c:v>
                </c:pt>
                <c:pt idx="41">
                  <c:v>Bic</c:v>
                </c:pt>
                <c:pt idx="42">
                  <c:v>Gillette</c:v>
                </c:pt>
                <c:pt idx="43">
                  <c:v>Schick</c:v>
                </c:pt>
                <c:pt idx="44">
                  <c:v>Harry's</c:v>
                </c:pt>
                <c:pt idx="45">
                  <c:v>Harry's</c:v>
                </c:pt>
                <c:pt idx="46">
                  <c:v>Gillette</c:v>
                </c:pt>
                <c:pt idx="47">
                  <c:v>Bic</c:v>
                </c:pt>
                <c:pt idx="48">
                  <c:v>Gillette</c:v>
                </c:pt>
                <c:pt idx="49">
                  <c:v>Gillette</c:v>
                </c:pt>
                <c:pt idx="50">
                  <c:v>Equate</c:v>
                </c:pt>
                <c:pt idx="51">
                  <c:v>Bic</c:v>
                </c:pt>
              </c:strCache>
            </c:strRef>
          </c:cat>
          <c:val>
            <c:numRef>
              <c:f>Sheet1!$C$2:$C$53</c:f>
              <c:numCache>
                <c:formatCode>General</c:formatCode>
                <c:ptCount val="52"/>
                <c:pt idx="0">
                  <c:v>7.1987089545617652E-2</c:v>
                </c:pt>
                <c:pt idx="1">
                  <c:v>0.13260411865714944</c:v>
                </c:pt>
                <c:pt idx="2">
                  <c:v>0.19196969423351884</c:v>
                </c:pt>
                <c:pt idx="3">
                  <c:v>0.24383351693088751</c:v>
                </c:pt>
                <c:pt idx="4">
                  <c:v>0.29362607655821721</c:v>
                </c:pt>
                <c:pt idx="5">
                  <c:v>0.33649417525963421</c:v>
                </c:pt>
                <c:pt idx="6">
                  <c:v>0.37865906130483296</c:v>
                </c:pt>
                <c:pt idx="7">
                  <c:v>0.41803160913899684</c:v>
                </c:pt>
                <c:pt idx="8">
                  <c:v>0.45128880772036223</c:v>
                </c:pt>
                <c:pt idx="9">
                  <c:v>0.4833858281008685</c:v>
                </c:pt>
                <c:pt idx="10">
                  <c:v>0.51496149947511782</c:v>
                </c:pt>
                <c:pt idx="11">
                  <c:v>0.54619837251171666</c:v>
                </c:pt>
                <c:pt idx="12">
                  <c:v>0.5751731875859265</c:v>
                </c:pt>
                <c:pt idx="13">
                  <c:v>0.60390273700376651</c:v>
                </c:pt>
                <c:pt idx="14">
                  <c:v>0.63218493913799978</c:v>
                </c:pt>
                <c:pt idx="15">
                  <c:v>0.66040413184790758</c:v>
                </c:pt>
                <c:pt idx="16">
                  <c:v>0.68557757461218793</c:v>
                </c:pt>
                <c:pt idx="17">
                  <c:v>0.71029307037661982</c:v>
                </c:pt>
                <c:pt idx="18">
                  <c:v>0.73434500427521898</c:v>
                </c:pt>
                <c:pt idx="19">
                  <c:v>0.7575702584524886</c:v>
                </c:pt>
                <c:pt idx="20">
                  <c:v>0.78060854541271762</c:v>
                </c:pt>
                <c:pt idx="21">
                  <c:v>0.80302056580500136</c:v>
                </c:pt>
                <c:pt idx="22">
                  <c:v>0.82521696048818372</c:v>
                </c:pt>
                <c:pt idx="23">
                  <c:v>0.84645270681420426</c:v>
                </c:pt>
                <c:pt idx="24">
                  <c:v>0.86287274687327997</c:v>
                </c:pt>
                <c:pt idx="25">
                  <c:v>0.87897666020999998</c:v>
                </c:pt>
                <c:pt idx="26">
                  <c:v>0.8946596274081966</c:v>
                </c:pt>
                <c:pt idx="27">
                  <c:v>0.90963378765549185</c:v>
                </c:pt>
                <c:pt idx="28">
                  <c:v>0.92394320829070542</c:v>
                </c:pt>
                <c:pt idx="29">
                  <c:v>0.93702855799104756</c:v>
                </c:pt>
                <c:pt idx="30">
                  <c:v>0.9484592723569607</c:v>
                </c:pt>
                <c:pt idx="31">
                  <c:v>0.95539786623786227</c:v>
                </c:pt>
                <c:pt idx="32">
                  <c:v>0.9612530317151361</c:v>
                </c:pt>
                <c:pt idx="33">
                  <c:v>0.96583407204195282</c:v>
                </c:pt>
                <c:pt idx="34">
                  <c:v>0.96957214049099449</c:v>
                </c:pt>
                <c:pt idx="35">
                  <c:v>0.97328792990682456</c:v>
                </c:pt>
                <c:pt idx="36">
                  <c:v>0.97693747109614415</c:v>
                </c:pt>
                <c:pt idx="37">
                  <c:v>0.98041290213164223</c:v>
                </c:pt>
                <c:pt idx="38">
                  <c:v>0.9838126629706373</c:v>
                </c:pt>
                <c:pt idx="39">
                  <c:v>0.98640448988276719</c:v>
                </c:pt>
                <c:pt idx="40">
                  <c:v>0.98879688509672048</c:v>
                </c:pt>
                <c:pt idx="41">
                  <c:v>0.99114874621060145</c:v>
                </c:pt>
                <c:pt idx="42">
                  <c:v>0.99329047776454338</c:v>
                </c:pt>
                <c:pt idx="43">
                  <c:v>0.99504188458243792</c:v>
                </c:pt>
                <c:pt idx="44">
                  <c:v>0.99648550704724093</c:v>
                </c:pt>
                <c:pt idx="45">
                  <c:v>0.9976779751244288</c:v>
                </c:pt>
                <c:pt idx="46">
                  <c:v>0.99872518783089748</c:v>
                </c:pt>
                <c:pt idx="47">
                  <c:v>0.99918539217772329</c:v>
                </c:pt>
                <c:pt idx="48">
                  <c:v>0.99956727639898568</c:v>
                </c:pt>
                <c:pt idx="49">
                  <c:v>0.99975807129133576</c:v>
                </c:pt>
                <c:pt idx="50">
                  <c:v>0.99986976089395629</c:v>
                </c:pt>
                <c:pt idx="51">
                  <c:v>0.9999720285265842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3</c:f>
              <c:strCache>
                <c:ptCount val="52"/>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pt idx="13">
                  <c:v>Gillette</c:v>
                </c:pt>
                <c:pt idx="14">
                  <c:v>Gillette</c:v>
                </c:pt>
                <c:pt idx="15">
                  <c:v>Equate</c:v>
                </c:pt>
                <c:pt idx="16">
                  <c:v>Gillette</c:v>
                </c:pt>
                <c:pt idx="17">
                  <c:v>Bic</c:v>
                </c:pt>
                <c:pt idx="18">
                  <c:v>Gillette</c:v>
                </c:pt>
                <c:pt idx="19">
                  <c:v>Equate</c:v>
                </c:pt>
                <c:pt idx="20">
                  <c:v>Bic</c:v>
                </c:pt>
                <c:pt idx="21">
                  <c:v>Equate</c:v>
                </c:pt>
                <c:pt idx="22">
                  <c:v>Gillette</c:v>
                </c:pt>
                <c:pt idx="23">
                  <c:v>Gillette</c:v>
                </c:pt>
                <c:pt idx="24">
                  <c:v>Bic</c:v>
                </c:pt>
                <c:pt idx="25">
                  <c:v>Equate</c:v>
                </c:pt>
                <c:pt idx="26">
                  <c:v>Bic</c:v>
                </c:pt>
                <c:pt idx="27">
                  <c:v>Schick</c:v>
                </c:pt>
                <c:pt idx="28">
                  <c:v>Bic</c:v>
                </c:pt>
                <c:pt idx="29">
                  <c:v>Gillette</c:v>
                </c:pt>
                <c:pt idx="30">
                  <c:v>Gillette</c:v>
                </c:pt>
                <c:pt idx="31">
                  <c:v>Bic</c:v>
                </c:pt>
                <c:pt idx="32">
                  <c:v>Bic</c:v>
                </c:pt>
                <c:pt idx="33">
                  <c:v>Equate</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Bic</c:v>
                </c:pt>
                <c:pt idx="48">
                  <c:v>Gillette</c:v>
                </c:pt>
                <c:pt idx="49">
                  <c:v>Harry's</c:v>
                </c:pt>
                <c:pt idx="50">
                  <c:v>Harry's</c:v>
                </c:pt>
                <c:pt idx="51">
                  <c:v>Gillette</c:v>
                </c:pt>
              </c:strCache>
            </c:strRef>
          </c:cat>
          <c:val>
            <c:numRef>
              <c:f>Sheet1!$B$2:$B$53</c:f>
              <c:numCache>
                <c:formatCode>General</c:formatCode>
                <c:ptCount val="52"/>
                <c:pt idx="0">
                  <c:v>0.92</c:v>
                </c:pt>
                <c:pt idx="1">
                  <c:v>0.99</c:v>
                </c:pt>
                <c:pt idx="2">
                  <c:v>0.98</c:v>
                </c:pt>
                <c:pt idx="3">
                  <c:v>0.95</c:v>
                </c:pt>
                <c:pt idx="4">
                  <c:v>0.87</c:v>
                </c:pt>
                <c:pt idx="5">
                  <c:v>0.97</c:v>
                </c:pt>
                <c:pt idx="6">
                  <c:v>0.96</c:v>
                </c:pt>
                <c:pt idx="7">
                  <c:v>0.83</c:v>
                </c:pt>
                <c:pt idx="8">
                  <c:v>0.99</c:v>
                </c:pt>
                <c:pt idx="9">
                  <c:v>0.68</c:v>
                </c:pt>
                <c:pt idx="10">
                  <c:v>0.95</c:v>
                </c:pt>
                <c:pt idx="11">
                  <c:v>0.87</c:v>
                </c:pt>
                <c:pt idx="12">
                  <c:v>0.96</c:v>
                </c:pt>
                <c:pt idx="13">
                  <c:v>0.81</c:v>
                </c:pt>
                <c:pt idx="14">
                  <c:v>0.63</c:v>
                </c:pt>
                <c:pt idx="15">
                  <c:v>0.99</c:v>
                </c:pt>
                <c:pt idx="16">
                  <c:v>0.84</c:v>
                </c:pt>
                <c:pt idx="17">
                  <c:v>0.81</c:v>
                </c:pt>
                <c:pt idx="18">
                  <c:v>0.9</c:v>
                </c:pt>
                <c:pt idx="19">
                  <c:v>0.93</c:v>
                </c:pt>
                <c:pt idx="20">
                  <c:v>0.9</c:v>
                </c:pt>
                <c:pt idx="21">
                  <c:v>0.97</c:v>
                </c:pt>
                <c:pt idx="22">
                  <c:v>0.67</c:v>
                </c:pt>
                <c:pt idx="23">
                  <c:v>0.65</c:v>
                </c:pt>
                <c:pt idx="24">
                  <c:v>0.91</c:v>
                </c:pt>
                <c:pt idx="25">
                  <c:v>0.95</c:v>
                </c:pt>
                <c:pt idx="26">
                  <c:v>0.96</c:v>
                </c:pt>
                <c:pt idx="27">
                  <c:v>0.73</c:v>
                </c:pt>
                <c:pt idx="28">
                  <c:v>0.9</c:v>
                </c:pt>
                <c:pt idx="29">
                  <c:v>0.64</c:v>
                </c:pt>
                <c:pt idx="30">
                  <c:v>0.67</c:v>
                </c:pt>
                <c:pt idx="31">
                  <c:v>0.83</c:v>
                </c:pt>
                <c:pt idx="32">
                  <c:v>0.87</c:v>
                </c:pt>
                <c:pt idx="33">
                  <c:v>0.98</c:v>
                </c:pt>
                <c:pt idx="34">
                  <c:v>0.8</c:v>
                </c:pt>
                <c:pt idx="35">
                  <c:v>0.87</c:v>
                </c:pt>
                <c:pt idx="36">
                  <c:v>0.69</c:v>
                </c:pt>
                <c:pt idx="37">
                  <c:v>0.74</c:v>
                </c:pt>
                <c:pt idx="38">
                  <c:v>0.52</c:v>
                </c:pt>
                <c:pt idx="39">
                  <c:v>0.78</c:v>
                </c:pt>
                <c:pt idx="40">
                  <c:v>0.56000000000000005</c:v>
                </c:pt>
                <c:pt idx="41">
                  <c:v>0.86</c:v>
                </c:pt>
                <c:pt idx="42">
                  <c:v>0.91</c:v>
                </c:pt>
                <c:pt idx="43">
                  <c:v>0.84</c:v>
                </c:pt>
                <c:pt idx="44">
                  <c:v>0.61</c:v>
                </c:pt>
                <c:pt idx="45">
                  <c:v>0.66</c:v>
                </c:pt>
                <c:pt idx="46">
                  <c:v>0.75</c:v>
                </c:pt>
                <c:pt idx="47">
                  <c:v>0.53</c:v>
                </c:pt>
                <c:pt idx="48">
                  <c:v>0.56000000000000005</c:v>
                </c:pt>
                <c:pt idx="49">
                  <c:v>0.68</c:v>
                </c:pt>
                <c:pt idx="50">
                  <c:v>0.55000000000000004</c:v>
                </c:pt>
                <c:pt idx="51">
                  <c:v>0.3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3</c:f>
              <c:strCache>
                <c:ptCount val="52"/>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pt idx="13">
                  <c:v>Gillette</c:v>
                </c:pt>
                <c:pt idx="14">
                  <c:v>Gillette</c:v>
                </c:pt>
                <c:pt idx="15">
                  <c:v>Equate</c:v>
                </c:pt>
                <c:pt idx="16">
                  <c:v>Gillette</c:v>
                </c:pt>
                <c:pt idx="17">
                  <c:v>Bic</c:v>
                </c:pt>
                <c:pt idx="18">
                  <c:v>Gillette</c:v>
                </c:pt>
                <c:pt idx="19">
                  <c:v>Equate</c:v>
                </c:pt>
                <c:pt idx="20">
                  <c:v>Bic</c:v>
                </c:pt>
                <c:pt idx="21">
                  <c:v>Equate</c:v>
                </c:pt>
                <c:pt idx="22">
                  <c:v>Gillette</c:v>
                </c:pt>
                <c:pt idx="23">
                  <c:v>Gillette</c:v>
                </c:pt>
                <c:pt idx="24">
                  <c:v>Bic</c:v>
                </c:pt>
                <c:pt idx="25">
                  <c:v>Equate</c:v>
                </c:pt>
                <c:pt idx="26">
                  <c:v>Bic</c:v>
                </c:pt>
                <c:pt idx="27">
                  <c:v>Schick</c:v>
                </c:pt>
                <c:pt idx="28">
                  <c:v>Bic</c:v>
                </c:pt>
                <c:pt idx="29">
                  <c:v>Gillette</c:v>
                </c:pt>
                <c:pt idx="30">
                  <c:v>Gillette</c:v>
                </c:pt>
                <c:pt idx="31">
                  <c:v>Bic</c:v>
                </c:pt>
                <c:pt idx="32">
                  <c:v>Bic</c:v>
                </c:pt>
                <c:pt idx="33">
                  <c:v>Equate</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Bic</c:v>
                </c:pt>
                <c:pt idx="48">
                  <c:v>Gillette</c:v>
                </c:pt>
                <c:pt idx="49">
                  <c:v>Harry's</c:v>
                </c:pt>
                <c:pt idx="50">
                  <c:v>Harry's</c:v>
                </c:pt>
                <c:pt idx="51">
                  <c:v>Gillette</c:v>
                </c:pt>
              </c:strCache>
            </c:strRef>
          </c:cat>
          <c:val>
            <c:numRef>
              <c:f>Sheet1!$C$2:$C$53</c:f>
              <c:numCache>
                <c:formatCode>General</c:formatCode>
                <c:ptCount val="52"/>
                <c:pt idx="0">
                  <c:v>6.706344494347008E-2</c:v>
                </c:pt>
                <c:pt idx="1">
                  <c:v>0.12204378581667386</c:v>
                </c:pt>
                <c:pt idx="2">
                  <c:v>0.17611620993744068</c:v>
                </c:pt>
                <c:pt idx="3">
                  <c:v>0.22117284733140821</c:v>
                </c:pt>
                <c:pt idx="4">
                  <c:v>0.26365573785436502</c:v>
                </c:pt>
                <c:pt idx="5">
                  <c:v>0.30105600954801648</c:v>
                </c:pt>
                <c:pt idx="6">
                  <c:v>0.3364505724081438</c:v>
                </c:pt>
                <c:pt idx="7">
                  <c:v>0.37166420297665409</c:v>
                </c:pt>
                <c:pt idx="8">
                  <c:v>0.40660910213936424</c:v>
                </c:pt>
                <c:pt idx="9">
                  <c:v>0.43855633715261161</c:v>
                </c:pt>
                <c:pt idx="10">
                  <c:v>0.46878040988977476</c:v>
                </c:pt>
                <c:pt idx="11">
                  <c:v>0.49570148485957183</c:v>
                </c:pt>
                <c:pt idx="12">
                  <c:v>0.52078206259766469</c:v>
                </c:pt>
                <c:pt idx="13">
                  <c:v>0.54585844670822214</c:v>
                </c:pt>
                <c:pt idx="14">
                  <c:v>0.57062181730466688</c:v>
                </c:pt>
                <c:pt idx="15">
                  <c:v>0.59405974897176539</c:v>
                </c:pt>
                <c:pt idx="16">
                  <c:v>0.61697471868392206</c:v>
                </c:pt>
                <c:pt idx="17">
                  <c:v>0.63979594169310183</c:v>
                </c:pt>
                <c:pt idx="18">
                  <c:v>0.66248882237662476</c:v>
                </c:pt>
                <c:pt idx="19">
                  <c:v>0.68510740150791138</c:v>
                </c:pt>
                <c:pt idx="20">
                  <c:v>0.70763582125616109</c:v>
                </c:pt>
                <c:pt idx="21">
                  <c:v>0.73006990964768115</c:v>
                </c:pt>
                <c:pt idx="22">
                  <c:v>0.75101599649479134</c:v>
                </c:pt>
                <c:pt idx="23">
                  <c:v>0.77177133464159586</c:v>
                </c:pt>
                <c:pt idx="24">
                  <c:v>0.7920523237103102</c:v>
                </c:pt>
                <c:pt idx="25">
                  <c:v>0.8122716137632372</c:v>
                </c:pt>
                <c:pt idx="26">
                  <c:v>0.83221249314267909</c:v>
                </c:pt>
                <c:pt idx="27">
                  <c:v>0.85120037968713935</c:v>
                </c:pt>
                <c:pt idx="28">
                  <c:v>0.86770099037241999</c:v>
                </c:pt>
                <c:pt idx="29">
                  <c:v>0.8831374951379003</c:v>
                </c:pt>
                <c:pt idx="30">
                  <c:v>0.89741821161360691</c:v>
                </c:pt>
                <c:pt idx="31">
                  <c:v>0.90948615077603878</c:v>
                </c:pt>
                <c:pt idx="32">
                  <c:v>0.92016771709577894</c:v>
                </c:pt>
                <c:pt idx="33">
                  <c:v>0.93074746704716427</c:v>
                </c:pt>
                <c:pt idx="34">
                  <c:v>0.93998190705955631</c:v>
                </c:pt>
                <c:pt idx="35">
                  <c:v>0.94814353630738435</c:v>
                </c:pt>
                <c:pt idx="36">
                  <c:v>0.95404718223633667</c:v>
                </c:pt>
                <c:pt idx="37">
                  <c:v>0.95919445943993109</c:v>
                </c:pt>
                <c:pt idx="38">
                  <c:v>0.96432901861991571</c:v>
                </c:pt>
                <c:pt idx="39">
                  <c:v>0.96872008589299874</c:v>
                </c:pt>
                <c:pt idx="40">
                  <c:v>0.97236255817025163</c:v>
                </c:pt>
                <c:pt idx="41">
                  <c:v>0.97593201368993487</c:v>
                </c:pt>
                <c:pt idx="42">
                  <c:v>0.9792812929370891</c:v>
                </c:pt>
                <c:pt idx="43">
                  <c:v>0.98259285119026751</c:v>
                </c:pt>
                <c:pt idx="44">
                  <c:v>0.98564991183024442</c:v>
                </c:pt>
                <c:pt idx="45">
                  <c:v>0.98857860849072166</c:v>
                </c:pt>
                <c:pt idx="46">
                  <c:v>0.99143132181717997</c:v>
                </c:pt>
                <c:pt idx="47">
                  <c:v>0.99389722533361891</c:v>
                </c:pt>
                <c:pt idx="48">
                  <c:v>0.99636074692736132</c:v>
                </c:pt>
                <c:pt idx="49">
                  <c:v>0.99816340045998109</c:v>
                </c:pt>
                <c:pt idx="50">
                  <c:v>0.99973720174709846</c:v>
                </c:pt>
                <c:pt idx="51">
                  <c:v>0.9999219306791347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Gillette</c:v>
                </c:pt>
                <c:pt idx="19">
                  <c:v>Gillette</c:v>
                </c:pt>
                <c:pt idx="20">
                  <c:v>Schick</c:v>
                </c:pt>
                <c:pt idx="21">
                  <c:v>Harry's</c:v>
                </c:pt>
                <c:pt idx="22">
                  <c:v>Gillette</c:v>
                </c:pt>
                <c:pt idx="23">
                  <c:v>Gillette</c:v>
                </c:pt>
                <c:pt idx="24">
                  <c:v>Gillette</c:v>
                </c:pt>
                <c:pt idx="25">
                  <c:v>Harry's</c:v>
                </c:pt>
                <c:pt idx="26">
                  <c:v>Gillette</c:v>
                </c:pt>
                <c:pt idx="27">
                  <c:v>Gillette</c:v>
                </c:pt>
                <c:pt idx="28">
                  <c:v>Gillette</c:v>
                </c:pt>
                <c:pt idx="29">
                  <c:v>Gillette</c:v>
                </c:pt>
                <c:pt idx="30">
                  <c:v>Dollar Shav</c:v>
                </c:pt>
                <c:pt idx="31">
                  <c:v>Gillette</c:v>
                </c:pt>
                <c:pt idx="32">
                  <c:v>Gillette</c:v>
                </c:pt>
                <c:pt idx="33">
                  <c:v>Gillette</c:v>
                </c:pt>
                <c:pt idx="34">
                  <c:v>Gillette</c:v>
                </c:pt>
                <c:pt idx="35">
                  <c:v>Schick</c:v>
                </c:pt>
                <c:pt idx="36">
                  <c:v>Cremo</c:v>
                </c:pt>
                <c:pt idx="37">
                  <c:v>Harry's</c:v>
                </c:pt>
                <c:pt idx="38">
                  <c:v>Harry's</c:v>
                </c:pt>
                <c:pt idx="39">
                  <c:v>Schick</c:v>
                </c:pt>
              </c:strCache>
            </c:strRef>
          </c:cat>
          <c:val>
            <c:numRef>
              <c:f>Sheet1!$B$2:$B$41</c:f>
              <c:numCache>
                <c:formatCode>General</c:formatCode>
                <c:ptCount val="40"/>
                <c:pt idx="0">
                  <c:v>0.92900000000000005</c:v>
                </c:pt>
                <c:pt idx="1">
                  <c:v>0.94899999999999995</c:v>
                </c:pt>
                <c:pt idx="2">
                  <c:v>0.83799999999999997</c:v>
                </c:pt>
                <c:pt idx="3">
                  <c:v>0.84899999999999998</c:v>
                </c:pt>
                <c:pt idx="4">
                  <c:v>0.89700000000000002</c:v>
                </c:pt>
                <c:pt idx="5">
                  <c:v>0.92100000000000004</c:v>
                </c:pt>
                <c:pt idx="6">
                  <c:v>0.63200000000000001</c:v>
                </c:pt>
                <c:pt idx="7">
                  <c:v>0.73799999999999999</c:v>
                </c:pt>
                <c:pt idx="8">
                  <c:v>0.89100000000000001</c:v>
                </c:pt>
                <c:pt idx="9">
                  <c:v>0.85199999999999998</c:v>
                </c:pt>
                <c:pt idx="10">
                  <c:v>0.83399999999999996</c:v>
                </c:pt>
                <c:pt idx="11">
                  <c:v>0.66600000000000004</c:v>
                </c:pt>
                <c:pt idx="12">
                  <c:v>0.60699999999999998</c:v>
                </c:pt>
                <c:pt idx="13">
                  <c:v>0.61299999999999999</c:v>
                </c:pt>
                <c:pt idx="14">
                  <c:v>0.751</c:v>
                </c:pt>
                <c:pt idx="15">
                  <c:v>0.65100000000000002</c:v>
                </c:pt>
                <c:pt idx="16">
                  <c:v>0.52600000000000002</c:v>
                </c:pt>
                <c:pt idx="17">
                  <c:v>0.77700000000000002</c:v>
                </c:pt>
                <c:pt idx="18">
                  <c:v>0.38500000000000001</c:v>
                </c:pt>
                <c:pt idx="19">
                  <c:v>0.46600000000000003</c:v>
                </c:pt>
                <c:pt idx="20">
                  <c:v>0.79300000000000004</c:v>
                </c:pt>
                <c:pt idx="21">
                  <c:v>0.23599999999999999</c:v>
                </c:pt>
                <c:pt idx="22">
                  <c:v>0.57299999999999995</c:v>
                </c:pt>
                <c:pt idx="23">
                  <c:v>0.433</c:v>
                </c:pt>
                <c:pt idx="24">
                  <c:v>0.28699999999999998</c:v>
                </c:pt>
                <c:pt idx="25">
                  <c:v>0.7</c:v>
                </c:pt>
                <c:pt idx="26">
                  <c:v>0.73299999999999998</c:v>
                </c:pt>
                <c:pt idx="27">
                  <c:v>0.61199999999999999</c:v>
                </c:pt>
                <c:pt idx="28">
                  <c:v>0.35</c:v>
                </c:pt>
                <c:pt idx="29">
                  <c:v>0.42899999999999999</c:v>
                </c:pt>
                <c:pt idx="30">
                  <c:v>0.63</c:v>
                </c:pt>
                <c:pt idx="31">
                  <c:v>0.3</c:v>
                </c:pt>
                <c:pt idx="32">
                  <c:v>0.32300000000000001</c:v>
                </c:pt>
                <c:pt idx="33">
                  <c:v>0.38600000000000001</c:v>
                </c:pt>
                <c:pt idx="34">
                  <c:v>0.17499999999999999</c:v>
                </c:pt>
                <c:pt idx="35">
                  <c:v>5.6000000000000001E-2</c:v>
                </c:pt>
                <c:pt idx="36">
                  <c:v>0.11700000000000001</c:v>
                </c:pt>
                <c:pt idx="37">
                  <c:v>0.01</c:v>
                </c:pt>
                <c:pt idx="38">
                  <c:v>1E-3</c:v>
                </c:pt>
                <c:pt idx="39">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Gillette</c:v>
                </c:pt>
                <c:pt idx="19">
                  <c:v>Gillette</c:v>
                </c:pt>
                <c:pt idx="20">
                  <c:v>Schick</c:v>
                </c:pt>
                <c:pt idx="21">
                  <c:v>Harry's</c:v>
                </c:pt>
                <c:pt idx="22">
                  <c:v>Gillette</c:v>
                </c:pt>
                <c:pt idx="23">
                  <c:v>Gillette</c:v>
                </c:pt>
                <c:pt idx="24">
                  <c:v>Gillette</c:v>
                </c:pt>
                <c:pt idx="25">
                  <c:v>Harry's</c:v>
                </c:pt>
                <c:pt idx="26">
                  <c:v>Gillette</c:v>
                </c:pt>
                <c:pt idx="27">
                  <c:v>Gillette</c:v>
                </c:pt>
                <c:pt idx="28">
                  <c:v>Gillette</c:v>
                </c:pt>
                <c:pt idx="29">
                  <c:v>Gillette</c:v>
                </c:pt>
                <c:pt idx="30">
                  <c:v>Dollar Shav</c:v>
                </c:pt>
                <c:pt idx="31">
                  <c:v>Gillette</c:v>
                </c:pt>
                <c:pt idx="32">
                  <c:v>Gillette</c:v>
                </c:pt>
                <c:pt idx="33">
                  <c:v>Gillette</c:v>
                </c:pt>
                <c:pt idx="34">
                  <c:v>Gillette</c:v>
                </c:pt>
                <c:pt idx="35">
                  <c:v>Schick</c:v>
                </c:pt>
                <c:pt idx="36">
                  <c:v>Cremo</c:v>
                </c:pt>
                <c:pt idx="37">
                  <c:v>Harry's</c:v>
                </c:pt>
                <c:pt idx="38">
                  <c:v>Harry's</c:v>
                </c:pt>
                <c:pt idx="39">
                  <c:v>Schick</c:v>
                </c:pt>
              </c:strCache>
            </c:strRef>
          </c:cat>
          <c:val>
            <c:numRef>
              <c:f>Sheet1!$C$2:$C$41</c:f>
              <c:numCache>
                <c:formatCode>General</c:formatCode>
                <c:ptCount val="40"/>
                <c:pt idx="0">
                  <c:v>0.12308699612575454</c:v>
                </c:pt>
                <c:pt idx="1">
                  <c:v>0.22169717203232286</c:v>
                </c:pt>
                <c:pt idx="2">
                  <c:v>0.30000944583341527</c:v>
                </c:pt>
                <c:pt idx="3">
                  <c:v>0.36978396190527002</c:v>
                </c:pt>
                <c:pt idx="4">
                  <c:v>0.43435190297926091</c:v>
                </c:pt>
                <c:pt idx="5">
                  <c:v>0.49274297225814329</c:v>
                </c:pt>
                <c:pt idx="6">
                  <c:v>0.53966305087626187</c:v>
                </c:pt>
                <c:pt idx="7">
                  <c:v>0.58532969393137368</c:v>
                </c:pt>
                <c:pt idx="8">
                  <c:v>0.62689415945475413</c:v>
                </c:pt>
                <c:pt idx="9">
                  <c:v>0.66482255153294545</c:v>
                </c:pt>
                <c:pt idx="10">
                  <c:v>0.70223558417355159</c:v>
                </c:pt>
                <c:pt idx="11">
                  <c:v>0.73735143301361306</c:v>
                </c:pt>
                <c:pt idx="12">
                  <c:v>0.76722975076265387</c:v>
                </c:pt>
                <c:pt idx="13">
                  <c:v>0.79383646285775822</c:v>
                </c:pt>
                <c:pt idx="14">
                  <c:v>0.81540937075375897</c:v>
                </c:pt>
                <c:pt idx="15">
                  <c:v>0.83591613335626891</c:v>
                </c:pt>
                <c:pt idx="16">
                  <c:v>0.85357020156841545</c:v>
                </c:pt>
                <c:pt idx="17">
                  <c:v>0.86981971542055392</c:v>
                </c:pt>
                <c:pt idx="18">
                  <c:v>0.88299112873057273</c:v>
                </c:pt>
                <c:pt idx="19">
                  <c:v>0.89579246817083058</c:v>
                </c:pt>
                <c:pt idx="20">
                  <c:v>0.90817189795868603</c:v>
                </c:pt>
                <c:pt idx="21">
                  <c:v>0.91833332866917294</c:v>
                </c:pt>
                <c:pt idx="22">
                  <c:v>0.92831720024479936</c:v>
                </c:pt>
                <c:pt idx="23">
                  <c:v>0.93815069807761842</c:v>
                </c:pt>
                <c:pt idx="24">
                  <c:v>0.94747965793071842</c:v>
                </c:pt>
                <c:pt idx="25">
                  <c:v>0.9562323728809432</c:v>
                </c:pt>
                <c:pt idx="26">
                  <c:v>0.96447282672870649</c:v>
                </c:pt>
                <c:pt idx="27">
                  <c:v>0.9709287031474032</c:v>
                </c:pt>
                <c:pt idx="28">
                  <c:v>0.97642599465734348</c:v>
                </c:pt>
                <c:pt idx="29">
                  <c:v>0.9817577932759548</c:v>
                </c:pt>
                <c:pt idx="30">
                  <c:v>0.9857648310215269</c:v>
                </c:pt>
                <c:pt idx="31">
                  <c:v>0.9896138991059239</c:v>
                </c:pt>
                <c:pt idx="32">
                  <c:v>0.99274882365937389</c:v>
                </c:pt>
                <c:pt idx="33">
                  <c:v>0.99571453005052513</c:v>
                </c:pt>
                <c:pt idx="34">
                  <c:v>0.99789052442620185</c:v>
                </c:pt>
                <c:pt idx="35">
                  <c:v>0.99898025704515059</c:v>
                </c:pt>
                <c:pt idx="36">
                  <c:v>0.99979085783613642</c:v>
                </c:pt>
                <c:pt idx="37">
                  <c:v>0.99983378022653047</c:v>
                </c:pt>
                <c:pt idx="38">
                  <c:v>0.99987092390390786</c:v>
                </c:pt>
                <c:pt idx="39">
                  <c:v>0.9999327634020074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90928863633829238</c:v>
                </c:pt>
                <c:pt idx="1">
                  <c:v>8.9289807892067544E-2</c:v>
                </c:pt>
                <c:pt idx="2">
                  <c:v>1.421555769640087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79924717691342539</c:v>
                </c:pt>
                <c:pt idx="1">
                  <c:v>0.12421580928481808</c:v>
                </c:pt>
                <c:pt idx="2">
                  <c:v>7.65370138017565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0.87898071632347219</c:v>
                </c:pt>
                <c:pt idx="1">
                  <c:v>1.3911532818501375</c:v>
                </c:pt>
                <c:pt idx="2">
                  <c:v>53.8403173736436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Gillette</c:v>
                </c:pt>
                <c:pt idx="1">
                  <c:v>Harry's</c:v>
                </c:pt>
                <c:pt idx="2">
                  <c:v>Gillette</c:v>
                </c:pt>
                <c:pt idx="3">
                  <c:v>Gillette</c:v>
                </c:pt>
                <c:pt idx="4">
                  <c:v>Pbg Pl</c:v>
                </c:pt>
                <c:pt idx="5">
                  <c:v>Dollar Shav</c:v>
                </c:pt>
              </c:strCache>
            </c:strRef>
          </c:cat>
          <c:val>
            <c:numRef>
              <c:f>Sheet1!$B$2:$B$7</c:f>
              <c:numCache>
                <c:formatCode>General</c:formatCode>
                <c:ptCount val="6"/>
                <c:pt idx="0">
                  <c:v>0.98</c:v>
                </c:pt>
                <c:pt idx="1">
                  <c:v>0.99</c:v>
                </c:pt>
                <c:pt idx="2">
                  <c:v>0.97</c:v>
                </c:pt>
                <c:pt idx="3">
                  <c:v>0.88</c:v>
                </c:pt>
                <c:pt idx="4">
                  <c:v>0.6</c:v>
                </c:pt>
                <c:pt idx="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Gillette</c:v>
                </c:pt>
                <c:pt idx="1">
                  <c:v>Harry's</c:v>
                </c:pt>
                <c:pt idx="2">
                  <c:v>Gillette</c:v>
                </c:pt>
                <c:pt idx="3">
                  <c:v>Gillette</c:v>
                </c:pt>
                <c:pt idx="4">
                  <c:v>Pbg Pl</c:v>
                </c:pt>
                <c:pt idx="5">
                  <c:v>Dollar Shav</c:v>
                </c:pt>
              </c:strCache>
            </c:strRef>
          </c:cat>
          <c:val>
            <c:numRef>
              <c:f>Sheet1!$C$2:$C$7</c:f>
              <c:numCache>
                <c:formatCode>General</c:formatCode>
                <c:ptCount val="6"/>
                <c:pt idx="0">
                  <c:v>0.4367633162117775</c:v>
                </c:pt>
                <c:pt idx="1">
                  <c:v>0.75068595215241607</c:v>
                </c:pt>
                <c:pt idx="2">
                  <c:v>0.93762910513655973</c:v>
                </c:pt>
                <c:pt idx="3">
                  <c:v>0.99499819775815368</c:v>
                </c:pt>
                <c:pt idx="4">
                  <c:v>0.99995382045828074</c:v>
                </c:pt>
                <c:pt idx="5">
                  <c:v>0.9999961258773725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c:f>
              <c:strCache>
                <c:ptCount val="4"/>
                <c:pt idx="0">
                  <c:v>Gillette</c:v>
                </c:pt>
                <c:pt idx="1">
                  <c:v>Gillette</c:v>
                </c:pt>
                <c:pt idx="2">
                  <c:v>Gillette</c:v>
                </c:pt>
                <c:pt idx="3">
                  <c:v>Gillette</c:v>
                </c:pt>
              </c:strCache>
            </c:strRef>
          </c:cat>
          <c:val>
            <c:numRef>
              <c:f>Sheet1!$B$2:$B$5</c:f>
              <c:numCache>
                <c:formatCode>General</c:formatCode>
                <c:ptCount val="4"/>
                <c:pt idx="0">
                  <c:v>0.91</c:v>
                </c:pt>
                <c:pt idx="1">
                  <c:v>0.63</c:v>
                </c:pt>
                <c:pt idx="2">
                  <c:v>0.66</c:v>
                </c:pt>
                <c:pt idx="3">
                  <c:v>0.1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c:f>
              <c:strCache>
                <c:ptCount val="4"/>
                <c:pt idx="0">
                  <c:v>Gillette</c:v>
                </c:pt>
                <c:pt idx="1">
                  <c:v>Gillette</c:v>
                </c:pt>
                <c:pt idx="2">
                  <c:v>Gillette</c:v>
                </c:pt>
                <c:pt idx="3">
                  <c:v>Gillette</c:v>
                </c:pt>
              </c:strCache>
            </c:strRef>
          </c:cat>
          <c:val>
            <c:numRef>
              <c:f>Sheet1!$C$2:$C$5</c:f>
              <c:numCache>
                <c:formatCode>General</c:formatCode>
                <c:ptCount val="4"/>
                <c:pt idx="0">
                  <c:v>0.59937289033806429</c:v>
                </c:pt>
                <c:pt idx="1">
                  <c:v>0.94846527784025447</c:v>
                </c:pt>
                <c:pt idx="2">
                  <c:v>0.98521446953368619</c:v>
                </c:pt>
                <c:pt idx="3">
                  <c:v>0.9999685545503578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Gillette</c:v>
                </c:pt>
                <c:pt idx="1">
                  <c:v>Gillette</c:v>
                </c:pt>
                <c:pt idx="2">
                  <c:v>Gillette</c:v>
                </c:pt>
                <c:pt idx="3">
                  <c:v>Gillette</c:v>
                </c:pt>
                <c:pt idx="4">
                  <c:v>Harry's</c:v>
                </c:pt>
                <c:pt idx="5">
                  <c:v>Harry's</c:v>
                </c:pt>
                <c:pt idx="6">
                  <c:v>Gillette</c:v>
                </c:pt>
                <c:pt idx="7">
                  <c:v>Gillette</c:v>
                </c:pt>
                <c:pt idx="8">
                  <c:v>Gillette</c:v>
                </c:pt>
                <c:pt idx="9">
                  <c:v>Harry's</c:v>
                </c:pt>
                <c:pt idx="10">
                  <c:v>Schick</c:v>
                </c:pt>
                <c:pt idx="11">
                  <c:v>Dollar Shav</c:v>
                </c:pt>
                <c:pt idx="12">
                  <c:v>Van Der Hag</c:v>
                </c:pt>
                <c:pt idx="13">
                  <c:v>Gillette</c:v>
                </c:pt>
                <c:pt idx="14">
                  <c:v>Gillette</c:v>
                </c:pt>
                <c:pt idx="15">
                  <c:v>Equate</c:v>
                </c:pt>
                <c:pt idx="16">
                  <c:v>Gillette</c:v>
                </c:pt>
                <c:pt idx="17">
                  <c:v>Gillette</c:v>
                </c:pt>
                <c:pt idx="18">
                  <c:v>Harry's</c:v>
                </c:pt>
                <c:pt idx="19">
                  <c:v>Gillette</c:v>
                </c:pt>
                <c:pt idx="20">
                  <c:v>Gillette</c:v>
                </c:pt>
                <c:pt idx="21">
                  <c:v>Gillette</c:v>
                </c:pt>
                <c:pt idx="22">
                  <c:v>Harry's</c:v>
                </c:pt>
                <c:pt idx="23">
                  <c:v>Gillette</c:v>
                </c:pt>
                <c:pt idx="24">
                  <c:v>Harry's</c:v>
                </c:pt>
                <c:pt idx="25">
                  <c:v>Gillette</c:v>
                </c:pt>
                <c:pt idx="26">
                  <c:v>Gillette</c:v>
                </c:pt>
                <c:pt idx="27">
                  <c:v>Dollar Shav</c:v>
                </c:pt>
                <c:pt idx="28">
                  <c:v>Gillette</c:v>
                </c:pt>
                <c:pt idx="29">
                  <c:v>Gillette</c:v>
                </c:pt>
                <c:pt idx="30">
                  <c:v>Gillette</c:v>
                </c:pt>
                <c:pt idx="31">
                  <c:v>Gillette</c:v>
                </c:pt>
                <c:pt idx="32">
                  <c:v>Gillette</c:v>
                </c:pt>
                <c:pt idx="33">
                  <c:v>Schick</c:v>
                </c:pt>
                <c:pt idx="34">
                  <c:v>Schick</c:v>
                </c:pt>
                <c:pt idx="35">
                  <c:v>Gillette</c:v>
                </c:pt>
                <c:pt idx="36">
                  <c:v>Cremo</c:v>
                </c:pt>
                <c:pt idx="37">
                  <c:v>Harry's</c:v>
                </c:pt>
                <c:pt idx="38">
                  <c:v>Harry's</c:v>
                </c:pt>
                <c:pt idx="39">
                  <c:v>Schick</c:v>
                </c:pt>
              </c:strCache>
            </c:strRef>
          </c:cat>
          <c:val>
            <c:numRef>
              <c:f>Sheet1!$B$2:$B$41</c:f>
              <c:numCache>
                <c:formatCode>General</c:formatCode>
                <c:ptCount val="40"/>
                <c:pt idx="0">
                  <c:v>0.93</c:v>
                </c:pt>
                <c:pt idx="1">
                  <c:v>0.95</c:v>
                </c:pt>
                <c:pt idx="2">
                  <c:v>0.79</c:v>
                </c:pt>
                <c:pt idx="3">
                  <c:v>0.9</c:v>
                </c:pt>
                <c:pt idx="4">
                  <c:v>0.75</c:v>
                </c:pt>
                <c:pt idx="5">
                  <c:v>0.88</c:v>
                </c:pt>
                <c:pt idx="6">
                  <c:v>0.73</c:v>
                </c:pt>
                <c:pt idx="7">
                  <c:v>0.67</c:v>
                </c:pt>
                <c:pt idx="8">
                  <c:v>0.69</c:v>
                </c:pt>
                <c:pt idx="9">
                  <c:v>0.8</c:v>
                </c:pt>
                <c:pt idx="10">
                  <c:v>0.83</c:v>
                </c:pt>
                <c:pt idx="11">
                  <c:v>0.84</c:v>
                </c:pt>
                <c:pt idx="12">
                  <c:v>0.54</c:v>
                </c:pt>
                <c:pt idx="13">
                  <c:v>0.6</c:v>
                </c:pt>
                <c:pt idx="14">
                  <c:v>0.44</c:v>
                </c:pt>
                <c:pt idx="15">
                  <c:v>0.7</c:v>
                </c:pt>
                <c:pt idx="16">
                  <c:v>0.4</c:v>
                </c:pt>
                <c:pt idx="17">
                  <c:v>0.43</c:v>
                </c:pt>
                <c:pt idx="18">
                  <c:v>0.31</c:v>
                </c:pt>
                <c:pt idx="19">
                  <c:v>0.54</c:v>
                </c:pt>
                <c:pt idx="20">
                  <c:v>0.34</c:v>
                </c:pt>
                <c:pt idx="21">
                  <c:v>0.24</c:v>
                </c:pt>
                <c:pt idx="22">
                  <c:v>0.56999999999999995</c:v>
                </c:pt>
                <c:pt idx="23">
                  <c:v>0.59</c:v>
                </c:pt>
                <c:pt idx="24">
                  <c:v>0.14000000000000001</c:v>
                </c:pt>
                <c:pt idx="25">
                  <c:v>0.28000000000000003</c:v>
                </c:pt>
                <c:pt idx="26">
                  <c:v>0.4</c:v>
                </c:pt>
                <c:pt idx="27">
                  <c:v>0.62</c:v>
                </c:pt>
                <c:pt idx="28">
                  <c:v>0.19</c:v>
                </c:pt>
                <c:pt idx="29">
                  <c:v>0.28999999999999998</c:v>
                </c:pt>
                <c:pt idx="30">
                  <c:v>0.26</c:v>
                </c:pt>
                <c:pt idx="31">
                  <c:v>0.14000000000000001</c:v>
                </c:pt>
                <c:pt idx="32">
                  <c:v>0.05</c:v>
                </c:pt>
                <c:pt idx="33">
                  <c:v>0.05</c:v>
                </c:pt>
                <c:pt idx="34">
                  <c:v>0.04</c:v>
                </c:pt>
                <c:pt idx="35">
                  <c:v>0.05</c:v>
                </c:pt>
                <c:pt idx="36">
                  <c:v>0.05</c:v>
                </c:pt>
                <c:pt idx="37">
                  <c:v>0.01</c:v>
                </c:pt>
                <c:pt idx="38">
                  <c:v>0.01</c:v>
                </c:pt>
                <c:pt idx="3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Gillette</c:v>
                </c:pt>
                <c:pt idx="1">
                  <c:v>Gillette</c:v>
                </c:pt>
                <c:pt idx="2">
                  <c:v>Gillette</c:v>
                </c:pt>
                <c:pt idx="3">
                  <c:v>Gillette</c:v>
                </c:pt>
                <c:pt idx="4">
                  <c:v>Harry's</c:v>
                </c:pt>
                <c:pt idx="5">
                  <c:v>Harry's</c:v>
                </c:pt>
                <c:pt idx="6">
                  <c:v>Gillette</c:v>
                </c:pt>
                <c:pt idx="7">
                  <c:v>Gillette</c:v>
                </c:pt>
                <c:pt idx="8">
                  <c:v>Gillette</c:v>
                </c:pt>
                <c:pt idx="9">
                  <c:v>Harry's</c:v>
                </c:pt>
                <c:pt idx="10">
                  <c:v>Schick</c:v>
                </c:pt>
                <c:pt idx="11">
                  <c:v>Dollar Shav</c:v>
                </c:pt>
                <c:pt idx="12">
                  <c:v>Van Der Hag</c:v>
                </c:pt>
                <c:pt idx="13">
                  <c:v>Gillette</c:v>
                </c:pt>
                <c:pt idx="14">
                  <c:v>Gillette</c:v>
                </c:pt>
                <c:pt idx="15">
                  <c:v>Equate</c:v>
                </c:pt>
                <c:pt idx="16">
                  <c:v>Gillette</c:v>
                </c:pt>
                <c:pt idx="17">
                  <c:v>Gillette</c:v>
                </c:pt>
                <c:pt idx="18">
                  <c:v>Harry's</c:v>
                </c:pt>
                <c:pt idx="19">
                  <c:v>Gillette</c:v>
                </c:pt>
                <c:pt idx="20">
                  <c:v>Gillette</c:v>
                </c:pt>
                <c:pt idx="21">
                  <c:v>Gillette</c:v>
                </c:pt>
                <c:pt idx="22">
                  <c:v>Harry's</c:v>
                </c:pt>
                <c:pt idx="23">
                  <c:v>Gillette</c:v>
                </c:pt>
                <c:pt idx="24">
                  <c:v>Harry's</c:v>
                </c:pt>
                <c:pt idx="25">
                  <c:v>Gillette</c:v>
                </c:pt>
                <c:pt idx="26">
                  <c:v>Gillette</c:v>
                </c:pt>
                <c:pt idx="27">
                  <c:v>Dollar Shav</c:v>
                </c:pt>
                <c:pt idx="28">
                  <c:v>Gillette</c:v>
                </c:pt>
                <c:pt idx="29">
                  <c:v>Gillette</c:v>
                </c:pt>
                <c:pt idx="30">
                  <c:v>Gillette</c:v>
                </c:pt>
                <c:pt idx="31">
                  <c:v>Gillette</c:v>
                </c:pt>
                <c:pt idx="32">
                  <c:v>Gillette</c:v>
                </c:pt>
                <c:pt idx="33">
                  <c:v>Schick</c:v>
                </c:pt>
                <c:pt idx="34">
                  <c:v>Schick</c:v>
                </c:pt>
                <c:pt idx="35">
                  <c:v>Gillette</c:v>
                </c:pt>
                <c:pt idx="36">
                  <c:v>Cremo</c:v>
                </c:pt>
                <c:pt idx="37">
                  <c:v>Harry's</c:v>
                </c:pt>
                <c:pt idx="38">
                  <c:v>Harry's</c:v>
                </c:pt>
                <c:pt idx="39">
                  <c:v>Schick</c:v>
                </c:pt>
              </c:strCache>
            </c:strRef>
          </c:cat>
          <c:val>
            <c:numRef>
              <c:f>Sheet1!$C$2:$C$41</c:f>
              <c:numCache>
                <c:formatCode>General</c:formatCode>
                <c:ptCount val="40"/>
                <c:pt idx="0">
                  <c:v>0.14684023274017932</c:v>
                </c:pt>
                <c:pt idx="1">
                  <c:v>0.25796547329394043</c:v>
                </c:pt>
                <c:pt idx="2">
                  <c:v>0.34234057043385863</c:v>
                </c:pt>
                <c:pt idx="3">
                  <c:v>0.41345532694117343</c:v>
                </c:pt>
                <c:pt idx="4">
                  <c:v>0.47385106437091479</c:v>
                </c:pt>
                <c:pt idx="5">
                  <c:v>0.53044993797174678</c:v>
                </c:pt>
                <c:pt idx="6">
                  <c:v>0.58292442726304217</c:v>
                </c:pt>
                <c:pt idx="7">
                  <c:v>0.63415891666737312</c:v>
                </c:pt>
                <c:pt idx="8">
                  <c:v>0.67837389896318145</c:v>
                </c:pt>
                <c:pt idx="9">
                  <c:v>0.71912547227662049</c:v>
                </c:pt>
                <c:pt idx="10">
                  <c:v>0.75940978492162392</c:v>
                </c:pt>
                <c:pt idx="11">
                  <c:v>0.79770085709199112</c:v>
                </c:pt>
                <c:pt idx="12">
                  <c:v>0.82305515286644004</c:v>
                </c:pt>
                <c:pt idx="13">
                  <c:v>0.8456657934671109</c:v>
                </c:pt>
                <c:pt idx="14">
                  <c:v>0.86769317067518958</c:v>
                </c:pt>
                <c:pt idx="15">
                  <c:v>0.88937875666556465</c:v>
                </c:pt>
                <c:pt idx="16">
                  <c:v>0.90353617561201693</c:v>
                </c:pt>
                <c:pt idx="17">
                  <c:v>0.91663671224824883</c:v>
                </c:pt>
                <c:pt idx="18">
                  <c:v>0.9274118252131428</c:v>
                </c:pt>
                <c:pt idx="19">
                  <c:v>0.93803617702496123</c:v>
                </c:pt>
                <c:pt idx="20">
                  <c:v>0.94615650901034576</c:v>
                </c:pt>
                <c:pt idx="21">
                  <c:v>0.95361021389150302</c:v>
                </c:pt>
                <c:pt idx="22">
                  <c:v>0.96034416496406905</c:v>
                </c:pt>
                <c:pt idx="23">
                  <c:v>0.96707472497039904</c:v>
                </c:pt>
                <c:pt idx="24">
                  <c:v>0.97267069073193357</c:v>
                </c:pt>
                <c:pt idx="25">
                  <c:v>0.97769709866024646</c:v>
                </c:pt>
                <c:pt idx="26">
                  <c:v>0.98257260414105729</c:v>
                </c:pt>
                <c:pt idx="27">
                  <c:v>0.98639913979953175</c:v>
                </c:pt>
                <c:pt idx="28">
                  <c:v>0.98934413953107236</c:v>
                </c:pt>
                <c:pt idx="29">
                  <c:v>0.99213512833772788</c:v>
                </c:pt>
                <c:pt idx="30">
                  <c:v>0.99487793574494687</c:v>
                </c:pt>
                <c:pt idx="31">
                  <c:v>0.99654082985042602</c:v>
                </c:pt>
                <c:pt idx="32">
                  <c:v>0.99754204215660536</c:v>
                </c:pt>
                <c:pt idx="33">
                  <c:v>0.99824794911139958</c:v>
                </c:pt>
                <c:pt idx="34">
                  <c:v>0.99886667740504331</c:v>
                </c:pt>
                <c:pt idx="35">
                  <c:v>0.99938423888931305</c:v>
                </c:pt>
                <c:pt idx="36">
                  <c:v>0.99971811761913265</c:v>
                </c:pt>
                <c:pt idx="37">
                  <c:v>0.9997920146041922</c:v>
                </c:pt>
                <c:pt idx="38">
                  <c:v>0.99988654057552073</c:v>
                </c:pt>
                <c:pt idx="39">
                  <c:v>0.9999164949939387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c:f>
              <c:strCache>
                <c:ptCount val="22"/>
                <c:pt idx="0">
                  <c:v>Gillette</c:v>
                </c:pt>
                <c:pt idx="1">
                  <c:v>Gillette</c:v>
                </c:pt>
                <c:pt idx="2">
                  <c:v>Gillette</c:v>
                </c:pt>
                <c:pt idx="3">
                  <c:v>Gillette</c:v>
                </c:pt>
                <c:pt idx="4">
                  <c:v>Harry's</c:v>
                </c:pt>
                <c:pt idx="5">
                  <c:v>Dollar Shav</c:v>
                </c:pt>
                <c:pt idx="6">
                  <c:v>Schick</c:v>
                </c:pt>
                <c:pt idx="7">
                  <c:v>Harry's</c:v>
                </c:pt>
                <c:pt idx="8">
                  <c:v>Harry's</c:v>
                </c:pt>
                <c:pt idx="9">
                  <c:v>Gillette</c:v>
                </c:pt>
                <c:pt idx="10">
                  <c:v>Gillette</c:v>
                </c:pt>
                <c:pt idx="11">
                  <c:v>Gillette</c:v>
                </c:pt>
                <c:pt idx="12">
                  <c:v>Equate</c:v>
                </c:pt>
                <c:pt idx="13">
                  <c:v>Gillette</c:v>
                </c:pt>
                <c:pt idx="14">
                  <c:v>Gillette</c:v>
                </c:pt>
                <c:pt idx="15">
                  <c:v>Gillette</c:v>
                </c:pt>
                <c:pt idx="16">
                  <c:v>Gillette</c:v>
                </c:pt>
                <c:pt idx="17">
                  <c:v>Harry's</c:v>
                </c:pt>
                <c:pt idx="18">
                  <c:v>Gillette</c:v>
                </c:pt>
                <c:pt idx="19">
                  <c:v>Dollar Shav</c:v>
                </c:pt>
                <c:pt idx="20">
                  <c:v>Van Der Hag</c:v>
                </c:pt>
                <c:pt idx="21">
                  <c:v>Harry's</c:v>
                </c:pt>
              </c:strCache>
            </c:strRef>
          </c:cat>
          <c:val>
            <c:numRef>
              <c:f>Sheet1!$B$2:$B$23</c:f>
              <c:numCache>
                <c:formatCode>General</c:formatCode>
                <c:ptCount val="22"/>
                <c:pt idx="0">
                  <c:v>0.76</c:v>
                </c:pt>
                <c:pt idx="1">
                  <c:v>0.79</c:v>
                </c:pt>
                <c:pt idx="2">
                  <c:v>0.57999999999999996</c:v>
                </c:pt>
                <c:pt idx="3">
                  <c:v>0.71</c:v>
                </c:pt>
                <c:pt idx="4">
                  <c:v>0.69</c:v>
                </c:pt>
                <c:pt idx="5">
                  <c:v>0.68</c:v>
                </c:pt>
                <c:pt idx="6">
                  <c:v>0.61</c:v>
                </c:pt>
                <c:pt idx="7">
                  <c:v>0.37</c:v>
                </c:pt>
                <c:pt idx="8">
                  <c:v>0.49</c:v>
                </c:pt>
                <c:pt idx="9">
                  <c:v>0.42</c:v>
                </c:pt>
                <c:pt idx="10">
                  <c:v>0.56999999999999995</c:v>
                </c:pt>
                <c:pt idx="11">
                  <c:v>0.42</c:v>
                </c:pt>
                <c:pt idx="12">
                  <c:v>0.53</c:v>
                </c:pt>
                <c:pt idx="13">
                  <c:v>0.28999999999999998</c:v>
                </c:pt>
                <c:pt idx="14">
                  <c:v>0.16</c:v>
                </c:pt>
                <c:pt idx="15">
                  <c:v>0.18</c:v>
                </c:pt>
                <c:pt idx="16">
                  <c:v>0.21</c:v>
                </c:pt>
                <c:pt idx="17">
                  <c:v>0.27</c:v>
                </c:pt>
                <c:pt idx="18">
                  <c:v>0.23</c:v>
                </c:pt>
                <c:pt idx="19">
                  <c:v>0.34</c:v>
                </c:pt>
                <c:pt idx="20">
                  <c:v>0.06</c:v>
                </c:pt>
                <c:pt idx="2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3</c:f>
              <c:strCache>
                <c:ptCount val="22"/>
                <c:pt idx="0">
                  <c:v>Gillette</c:v>
                </c:pt>
                <c:pt idx="1">
                  <c:v>Gillette</c:v>
                </c:pt>
                <c:pt idx="2">
                  <c:v>Gillette</c:v>
                </c:pt>
                <c:pt idx="3">
                  <c:v>Gillette</c:v>
                </c:pt>
                <c:pt idx="4">
                  <c:v>Harry's</c:v>
                </c:pt>
                <c:pt idx="5">
                  <c:v>Dollar Shav</c:v>
                </c:pt>
                <c:pt idx="6">
                  <c:v>Schick</c:v>
                </c:pt>
                <c:pt idx="7">
                  <c:v>Harry's</c:v>
                </c:pt>
                <c:pt idx="8">
                  <c:v>Harry's</c:v>
                </c:pt>
                <c:pt idx="9">
                  <c:v>Gillette</c:v>
                </c:pt>
                <c:pt idx="10">
                  <c:v>Gillette</c:v>
                </c:pt>
                <c:pt idx="11">
                  <c:v>Gillette</c:v>
                </c:pt>
                <c:pt idx="12">
                  <c:v>Equate</c:v>
                </c:pt>
                <c:pt idx="13">
                  <c:v>Gillette</c:v>
                </c:pt>
                <c:pt idx="14">
                  <c:v>Gillette</c:v>
                </c:pt>
                <c:pt idx="15">
                  <c:v>Gillette</c:v>
                </c:pt>
                <c:pt idx="16">
                  <c:v>Gillette</c:v>
                </c:pt>
                <c:pt idx="17">
                  <c:v>Harry's</c:v>
                </c:pt>
                <c:pt idx="18">
                  <c:v>Gillette</c:v>
                </c:pt>
                <c:pt idx="19">
                  <c:v>Dollar Shav</c:v>
                </c:pt>
                <c:pt idx="20">
                  <c:v>Van Der Hag</c:v>
                </c:pt>
                <c:pt idx="21">
                  <c:v>Harry's</c:v>
                </c:pt>
              </c:strCache>
            </c:strRef>
          </c:cat>
          <c:val>
            <c:numRef>
              <c:f>Sheet1!$C$2:$C$23</c:f>
              <c:numCache>
                <c:formatCode>General</c:formatCode>
                <c:ptCount val="22"/>
                <c:pt idx="0">
                  <c:v>0.15836197139623417</c:v>
                </c:pt>
                <c:pt idx="1">
                  <c:v>0.29774649468239345</c:v>
                </c:pt>
                <c:pt idx="2">
                  <c:v>0.39383962061192229</c:v>
                </c:pt>
                <c:pt idx="3">
                  <c:v>0.47369445042045105</c:v>
                </c:pt>
                <c:pt idx="4">
                  <c:v>0.55070031522135654</c:v>
                </c:pt>
                <c:pt idx="5">
                  <c:v>0.60602793029585911</c:v>
                </c:pt>
                <c:pt idx="6">
                  <c:v>0.66015733006575683</c:v>
                </c:pt>
                <c:pt idx="7">
                  <c:v>0.71180031615673145</c:v>
                </c:pt>
                <c:pt idx="8">
                  <c:v>0.76184381109167609</c:v>
                </c:pt>
                <c:pt idx="9">
                  <c:v>0.81025545089749229</c:v>
                </c:pt>
                <c:pt idx="10">
                  <c:v>0.85866147845363816</c:v>
                </c:pt>
                <c:pt idx="11">
                  <c:v>0.89159191461897502</c:v>
                </c:pt>
                <c:pt idx="12">
                  <c:v>0.92433808192013767</c:v>
                </c:pt>
                <c:pt idx="13">
                  <c:v>0.94796041493232563</c:v>
                </c:pt>
                <c:pt idx="14">
                  <c:v>0.96089440552245364</c:v>
                </c:pt>
                <c:pt idx="15">
                  <c:v>0.96983752537204537</c:v>
                </c:pt>
                <c:pt idx="16">
                  <c:v>0.97851219261240863</c:v>
                </c:pt>
                <c:pt idx="17">
                  <c:v>0.98515896697191063</c:v>
                </c:pt>
                <c:pt idx="18">
                  <c:v>0.99147405737589911</c:v>
                </c:pt>
                <c:pt idx="19">
                  <c:v>0.99698135797734522</c:v>
                </c:pt>
                <c:pt idx="20">
                  <c:v>0.99904741415596443</c:v>
                </c:pt>
                <c:pt idx="21">
                  <c:v>0.9995818873995641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9</c:f>
              <c:strCache>
                <c:ptCount val="38"/>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Schick</c:v>
                </c:pt>
                <c:pt idx="19">
                  <c:v>Gillette</c:v>
                </c:pt>
                <c:pt idx="20">
                  <c:v>Gillette</c:v>
                </c:pt>
                <c:pt idx="21">
                  <c:v>Harry's</c:v>
                </c:pt>
                <c:pt idx="22">
                  <c:v>Gillette</c:v>
                </c:pt>
                <c:pt idx="23">
                  <c:v>Gillette</c:v>
                </c:pt>
                <c:pt idx="24">
                  <c:v>Gillette</c:v>
                </c:pt>
                <c:pt idx="25">
                  <c:v>Gillette</c:v>
                </c:pt>
                <c:pt idx="26">
                  <c:v>Harry's</c:v>
                </c:pt>
                <c:pt idx="27">
                  <c:v>Gillette</c:v>
                </c:pt>
                <c:pt idx="28">
                  <c:v>Gillette</c:v>
                </c:pt>
                <c:pt idx="29">
                  <c:v>Gillette</c:v>
                </c:pt>
                <c:pt idx="30">
                  <c:v>Gillette</c:v>
                </c:pt>
                <c:pt idx="31">
                  <c:v>Dollar Shav</c:v>
                </c:pt>
                <c:pt idx="32">
                  <c:v>Gillette</c:v>
                </c:pt>
                <c:pt idx="33">
                  <c:v>Gillette</c:v>
                </c:pt>
                <c:pt idx="34">
                  <c:v>Gillette</c:v>
                </c:pt>
                <c:pt idx="35">
                  <c:v>Schick</c:v>
                </c:pt>
                <c:pt idx="36">
                  <c:v>Cremo</c:v>
                </c:pt>
                <c:pt idx="37">
                  <c:v>Harry's</c:v>
                </c:pt>
              </c:strCache>
            </c:strRef>
          </c:cat>
          <c:val>
            <c:numRef>
              <c:f>Sheet1!$B$2:$B$39</c:f>
              <c:numCache>
                <c:formatCode>General</c:formatCode>
                <c:ptCount val="38"/>
                <c:pt idx="0">
                  <c:v>0.94</c:v>
                </c:pt>
                <c:pt idx="1">
                  <c:v>0.96</c:v>
                </c:pt>
                <c:pt idx="2">
                  <c:v>0.86</c:v>
                </c:pt>
                <c:pt idx="3">
                  <c:v>0.89</c:v>
                </c:pt>
                <c:pt idx="4">
                  <c:v>0.91</c:v>
                </c:pt>
                <c:pt idx="5">
                  <c:v>0.94</c:v>
                </c:pt>
                <c:pt idx="6">
                  <c:v>0.66</c:v>
                </c:pt>
                <c:pt idx="7">
                  <c:v>0.76</c:v>
                </c:pt>
                <c:pt idx="8">
                  <c:v>0.91</c:v>
                </c:pt>
                <c:pt idx="9">
                  <c:v>0.87</c:v>
                </c:pt>
                <c:pt idx="10">
                  <c:v>0.86</c:v>
                </c:pt>
                <c:pt idx="11">
                  <c:v>0.67</c:v>
                </c:pt>
                <c:pt idx="12">
                  <c:v>0.65</c:v>
                </c:pt>
                <c:pt idx="13">
                  <c:v>0.64</c:v>
                </c:pt>
                <c:pt idx="14">
                  <c:v>0.77</c:v>
                </c:pt>
                <c:pt idx="15">
                  <c:v>0.68</c:v>
                </c:pt>
                <c:pt idx="16">
                  <c:v>0.57999999999999996</c:v>
                </c:pt>
                <c:pt idx="17">
                  <c:v>0.89</c:v>
                </c:pt>
                <c:pt idx="18">
                  <c:v>0.91</c:v>
                </c:pt>
                <c:pt idx="19">
                  <c:v>0.41</c:v>
                </c:pt>
                <c:pt idx="20">
                  <c:v>0.49</c:v>
                </c:pt>
                <c:pt idx="21">
                  <c:v>0.26</c:v>
                </c:pt>
                <c:pt idx="22">
                  <c:v>0.47</c:v>
                </c:pt>
                <c:pt idx="23">
                  <c:v>0.6</c:v>
                </c:pt>
                <c:pt idx="24">
                  <c:v>0.31</c:v>
                </c:pt>
                <c:pt idx="25">
                  <c:v>0.84</c:v>
                </c:pt>
                <c:pt idx="26">
                  <c:v>0.74</c:v>
                </c:pt>
                <c:pt idx="27">
                  <c:v>0.64</c:v>
                </c:pt>
                <c:pt idx="28">
                  <c:v>0.38</c:v>
                </c:pt>
                <c:pt idx="29">
                  <c:v>0.46</c:v>
                </c:pt>
                <c:pt idx="30">
                  <c:v>0.33</c:v>
                </c:pt>
                <c:pt idx="31">
                  <c:v>0.65</c:v>
                </c:pt>
                <c:pt idx="32">
                  <c:v>0.35</c:v>
                </c:pt>
                <c:pt idx="33">
                  <c:v>0.42</c:v>
                </c:pt>
                <c:pt idx="34">
                  <c:v>0.19</c:v>
                </c:pt>
                <c:pt idx="35">
                  <c:v>0.06</c:v>
                </c:pt>
                <c:pt idx="36">
                  <c:v>0.13</c:v>
                </c:pt>
                <c:pt idx="3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9</c:f>
              <c:strCache>
                <c:ptCount val="38"/>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Schick</c:v>
                </c:pt>
                <c:pt idx="19">
                  <c:v>Gillette</c:v>
                </c:pt>
                <c:pt idx="20">
                  <c:v>Gillette</c:v>
                </c:pt>
                <c:pt idx="21">
                  <c:v>Harry's</c:v>
                </c:pt>
                <c:pt idx="22">
                  <c:v>Gillette</c:v>
                </c:pt>
                <c:pt idx="23">
                  <c:v>Gillette</c:v>
                </c:pt>
                <c:pt idx="24">
                  <c:v>Gillette</c:v>
                </c:pt>
                <c:pt idx="25">
                  <c:v>Gillette</c:v>
                </c:pt>
                <c:pt idx="26">
                  <c:v>Harry's</c:v>
                </c:pt>
                <c:pt idx="27">
                  <c:v>Gillette</c:v>
                </c:pt>
                <c:pt idx="28">
                  <c:v>Gillette</c:v>
                </c:pt>
                <c:pt idx="29">
                  <c:v>Gillette</c:v>
                </c:pt>
                <c:pt idx="30">
                  <c:v>Gillette</c:v>
                </c:pt>
                <c:pt idx="31">
                  <c:v>Dollar Shav</c:v>
                </c:pt>
                <c:pt idx="32">
                  <c:v>Gillette</c:v>
                </c:pt>
                <c:pt idx="33">
                  <c:v>Gillette</c:v>
                </c:pt>
                <c:pt idx="34">
                  <c:v>Gillette</c:v>
                </c:pt>
                <c:pt idx="35">
                  <c:v>Schick</c:v>
                </c:pt>
                <c:pt idx="36">
                  <c:v>Cremo</c:v>
                </c:pt>
                <c:pt idx="37">
                  <c:v>Harry's</c:v>
                </c:pt>
              </c:strCache>
            </c:strRef>
          </c:cat>
          <c:val>
            <c:numRef>
              <c:f>Sheet1!$C$2:$C$39</c:f>
              <c:numCache>
                <c:formatCode>General</c:formatCode>
                <c:ptCount val="38"/>
                <c:pt idx="0">
                  <c:v>0.11943392370361504</c:v>
                </c:pt>
                <c:pt idx="1">
                  <c:v>0.21490457262394724</c:v>
                </c:pt>
                <c:pt idx="2">
                  <c:v>0.29180388945342195</c:v>
                </c:pt>
                <c:pt idx="3">
                  <c:v>0.36325092738620257</c:v>
                </c:pt>
                <c:pt idx="4">
                  <c:v>0.42650736911842091</c:v>
                </c:pt>
                <c:pt idx="5">
                  <c:v>0.48400921592247331</c:v>
                </c:pt>
                <c:pt idx="6">
                  <c:v>0.53269573946509485</c:v>
                </c:pt>
                <c:pt idx="7">
                  <c:v>0.57771861304201411</c:v>
                </c:pt>
                <c:pt idx="8">
                  <c:v>0.61876684556404138</c:v>
                </c:pt>
                <c:pt idx="9">
                  <c:v>0.65563747960055552</c:v>
                </c:pt>
                <c:pt idx="10">
                  <c:v>0.69211700885075056</c:v>
                </c:pt>
                <c:pt idx="11">
                  <c:v>0.72584566398389894</c:v>
                </c:pt>
                <c:pt idx="12">
                  <c:v>0.75757460052895509</c:v>
                </c:pt>
                <c:pt idx="13">
                  <c:v>0.78416704256876413</c:v>
                </c:pt>
                <c:pt idx="14">
                  <c:v>0.80512006208186748</c:v>
                </c:pt>
                <c:pt idx="15">
                  <c:v>0.8253037463405748</c:v>
                </c:pt>
                <c:pt idx="16">
                  <c:v>0.84442001954233414</c:v>
                </c:pt>
                <c:pt idx="17">
                  <c:v>0.8626644545645028</c:v>
                </c:pt>
                <c:pt idx="18">
                  <c:v>0.87657400318926648</c:v>
                </c:pt>
                <c:pt idx="19">
                  <c:v>0.89038909917852405</c:v>
                </c:pt>
                <c:pt idx="20">
                  <c:v>0.90316148805323671</c:v>
                </c:pt>
                <c:pt idx="21">
                  <c:v>0.91420956837767531</c:v>
                </c:pt>
                <c:pt idx="22">
                  <c:v>0.92470482117510489</c:v>
                </c:pt>
                <c:pt idx="23">
                  <c:v>0.93471394299317412</c:v>
                </c:pt>
                <c:pt idx="24">
                  <c:v>0.94467433290496072</c:v>
                </c:pt>
                <c:pt idx="25">
                  <c:v>0.95392557013513746</c:v>
                </c:pt>
                <c:pt idx="26">
                  <c:v>0.96293991786123478</c:v>
                </c:pt>
                <c:pt idx="27">
                  <c:v>0.96938359095728344</c:v>
                </c:pt>
                <c:pt idx="28">
                  <c:v>0.97521598486824101</c:v>
                </c:pt>
                <c:pt idx="29">
                  <c:v>0.98086972584912557</c:v>
                </c:pt>
                <c:pt idx="30">
                  <c:v>0.9849940961469652</c:v>
                </c:pt>
                <c:pt idx="31">
                  <c:v>0.98893208073010741</c:v>
                </c:pt>
                <c:pt idx="32">
                  <c:v>0.99225997421162393</c:v>
                </c:pt>
                <c:pt idx="33">
                  <c:v>0.99539863467496537</c:v>
                </c:pt>
                <c:pt idx="34">
                  <c:v>0.99773095518080046</c:v>
                </c:pt>
                <c:pt idx="35">
                  <c:v>0.99890772112706727</c:v>
                </c:pt>
                <c:pt idx="36">
                  <c:v>0.99979725765345417</c:v>
                </c:pt>
                <c:pt idx="37">
                  <c:v>0.999835542618919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c:f>
              <c:strCache>
                <c:ptCount val="33"/>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Equate</c:v>
                </c:pt>
                <c:pt idx="14">
                  <c:v>Gillet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Dollar Shav</c:v>
                </c:pt>
                <c:pt idx="32">
                  <c:v>Dollar Shav</c:v>
                </c:pt>
              </c:strCache>
            </c:strRef>
          </c:cat>
          <c:val>
            <c:numRef>
              <c:f>Sheet1!$B$2:$B$34</c:f>
              <c:numCache>
                <c:formatCode>General</c:formatCode>
                <c:ptCount val="33"/>
                <c:pt idx="0">
                  <c:v>0.98599999999999999</c:v>
                </c:pt>
                <c:pt idx="1">
                  <c:v>0.98799999999999999</c:v>
                </c:pt>
                <c:pt idx="2">
                  <c:v>0.98499999999999999</c:v>
                </c:pt>
                <c:pt idx="3">
                  <c:v>0.92100000000000004</c:v>
                </c:pt>
                <c:pt idx="4">
                  <c:v>0.86099999999999999</c:v>
                </c:pt>
                <c:pt idx="5">
                  <c:v>0.61899999999999999</c:v>
                </c:pt>
                <c:pt idx="6">
                  <c:v>0.82599999999999996</c:v>
                </c:pt>
                <c:pt idx="7">
                  <c:v>0.78200000000000003</c:v>
                </c:pt>
                <c:pt idx="8">
                  <c:v>0.626</c:v>
                </c:pt>
                <c:pt idx="9">
                  <c:v>0.73499999999999999</c:v>
                </c:pt>
                <c:pt idx="10">
                  <c:v>0.65300000000000002</c:v>
                </c:pt>
                <c:pt idx="11">
                  <c:v>0.78500000000000003</c:v>
                </c:pt>
                <c:pt idx="12">
                  <c:v>0.86</c:v>
                </c:pt>
                <c:pt idx="13">
                  <c:v>0.84499999999999997</c:v>
                </c:pt>
                <c:pt idx="14">
                  <c:v>0.60599999999999998</c:v>
                </c:pt>
                <c:pt idx="15">
                  <c:v>0.43099999999999999</c:v>
                </c:pt>
                <c:pt idx="16">
                  <c:v>0.54700000000000004</c:v>
                </c:pt>
                <c:pt idx="17">
                  <c:v>0.44800000000000001</c:v>
                </c:pt>
                <c:pt idx="18">
                  <c:v>0.56200000000000006</c:v>
                </c:pt>
                <c:pt idx="19">
                  <c:v>0.873</c:v>
                </c:pt>
                <c:pt idx="20">
                  <c:v>0.54500000000000004</c:v>
                </c:pt>
                <c:pt idx="21">
                  <c:v>0.58399999999999996</c:v>
                </c:pt>
                <c:pt idx="22">
                  <c:v>0.32600000000000001</c:v>
                </c:pt>
                <c:pt idx="23">
                  <c:v>0.433</c:v>
                </c:pt>
                <c:pt idx="24">
                  <c:v>0.19800000000000001</c:v>
                </c:pt>
                <c:pt idx="25">
                  <c:v>0.16900000000000001</c:v>
                </c:pt>
                <c:pt idx="26">
                  <c:v>0.68899999999999995</c:v>
                </c:pt>
                <c:pt idx="27">
                  <c:v>0.16700000000000001</c:v>
                </c:pt>
                <c:pt idx="28">
                  <c:v>4.5999999999999999E-2</c:v>
                </c:pt>
                <c:pt idx="29">
                  <c:v>6.4000000000000001E-2</c:v>
                </c:pt>
                <c:pt idx="30">
                  <c:v>0.01</c:v>
                </c:pt>
                <c:pt idx="31">
                  <c:v>1E-3</c:v>
                </c:pt>
                <c:pt idx="32">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4</c:f>
              <c:strCache>
                <c:ptCount val="33"/>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Equate</c:v>
                </c:pt>
                <c:pt idx="14">
                  <c:v>Gillet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Dollar Shav</c:v>
                </c:pt>
                <c:pt idx="32">
                  <c:v>Dollar Shav</c:v>
                </c:pt>
              </c:strCache>
            </c:strRef>
          </c:cat>
          <c:val>
            <c:numRef>
              <c:f>Sheet1!$C$2:$C$34</c:f>
              <c:numCache>
                <c:formatCode>General</c:formatCode>
                <c:ptCount val="33"/>
                <c:pt idx="0">
                  <c:v>0.14143384146150964</c:v>
                </c:pt>
                <c:pt idx="1">
                  <c:v>0.27578671817783518</c:v>
                </c:pt>
                <c:pt idx="2">
                  <c:v>0.367747969073841</c:v>
                </c:pt>
                <c:pt idx="3">
                  <c:v>0.43678954484186555</c:v>
                </c:pt>
                <c:pt idx="4">
                  <c:v>0.50488825067016418</c:v>
                </c:pt>
                <c:pt idx="5">
                  <c:v>0.56482284292780705</c:v>
                </c:pt>
                <c:pt idx="6">
                  <c:v>0.61441416302828866</c:v>
                </c:pt>
                <c:pt idx="7">
                  <c:v>0.654434595475478</c:v>
                </c:pt>
                <c:pt idx="8">
                  <c:v>0.6861577110618825</c:v>
                </c:pt>
                <c:pt idx="9">
                  <c:v>0.71716438097094082</c:v>
                </c:pt>
                <c:pt idx="10">
                  <c:v>0.74801311422107453</c:v>
                </c:pt>
                <c:pt idx="11">
                  <c:v>0.77596575415883595</c:v>
                </c:pt>
                <c:pt idx="12">
                  <c:v>0.79996036313767205</c:v>
                </c:pt>
                <c:pt idx="13">
                  <c:v>0.82379785227266578</c:v>
                </c:pt>
                <c:pt idx="14">
                  <c:v>0.84754919082838176</c:v>
                </c:pt>
                <c:pt idx="15">
                  <c:v>0.87067851689501596</c:v>
                </c:pt>
                <c:pt idx="16">
                  <c:v>0.8918365820228249</c:v>
                </c:pt>
                <c:pt idx="17">
                  <c:v>0.90954885289585408</c:v>
                </c:pt>
                <c:pt idx="18">
                  <c:v>0.92580384241988845</c:v>
                </c:pt>
                <c:pt idx="19">
                  <c:v>0.9393133915891051</c:v>
                </c:pt>
                <c:pt idx="20">
                  <c:v>0.95233185800401265</c:v>
                </c:pt>
                <c:pt idx="21">
                  <c:v>0.96404047559094563</c:v>
                </c:pt>
                <c:pt idx="22">
                  <c:v>0.97401426638817312</c:v>
                </c:pt>
                <c:pt idx="23">
                  <c:v>0.98248799969878753</c:v>
                </c:pt>
                <c:pt idx="24">
                  <c:v>0.98890528918305243</c:v>
                </c:pt>
                <c:pt idx="25">
                  <c:v>0.99392708911916083</c:v>
                </c:pt>
                <c:pt idx="26">
                  <c:v>0.9975953900455119</c:v>
                </c:pt>
                <c:pt idx="27">
                  <c:v>0.99906699427298673</c:v>
                </c:pt>
                <c:pt idx="28">
                  <c:v>0.99959318446790002</c:v>
                </c:pt>
                <c:pt idx="29">
                  <c:v>0.99981794908689603</c:v>
                </c:pt>
                <c:pt idx="30">
                  <c:v>0.99984731280870554</c:v>
                </c:pt>
                <c:pt idx="31">
                  <c:v>0.99993671504038062</c:v>
                </c:pt>
                <c:pt idx="32">
                  <c:v>0.999956708800641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c:f>
              <c:strCache>
                <c:ptCount val="4"/>
                <c:pt idx="0">
                  <c:v>Gillette</c:v>
                </c:pt>
                <c:pt idx="1">
                  <c:v>Gillette</c:v>
                </c:pt>
                <c:pt idx="2">
                  <c:v>Gillette</c:v>
                </c:pt>
                <c:pt idx="3">
                  <c:v>Gillette</c:v>
                </c:pt>
              </c:strCache>
            </c:strRef>
          </c:cat>
          <c:val>
            <c:numRef>
              <c:f>Sheet1!$B$2:$B$5</c:f>
              <c:numCache>
                <c:formatCode>General</c:formatCode>
                <c:ptCount val="4"/>
                <c:pt idx="0">
                  <c:v>1</c:v>
                </c:pt>
                <c:pt idx="1">
                  <c:v>1</c:v>
                </c:pt>
                <c:pt idx="2">
                  <c:v>0.77</c:v>
                </c:pt>
                <c:pt idx="3">
                  <c:v>0.7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c:f>
              <c:strCache>
                <c:ptCount val="4"/>
                <c:pt idx="0">
                  <c:v>Gillette</c:v>
                </c:pt>
                <c:pt idx="1">
                  <c:v>Gillette</c:v>
                </c:pt>
                <c:pt idx="2">
                  <c:v>Gillette</c:v>
                </c:pt>
                <c:pt idx="3">
                  <c:v>Gillette</c:v>
                </c:pt>
              </c:strCache>
            </c:strRef>
          </c:cat>
          <c:val>
            <c:numRef>
              <c:f>Sheet1!$C$2:$C$5</c:f>
              <c:numCache>
                <c:formatCode>General</c:formatCode>
                <c:ptCount val="4"/>
                <c:pt idx="0">
                  <c:v>0.65217507266051911</c:v>
                </c:pt>
                <c:pt idx="1">
                  <c:v>0.95621699016522888</c:v>
                </c:pt>
                <c:pt idx="2">
                  <c:v>0.98273548491214358</c:v>
                </c:pt>
                <c:pt idx="3">
                  <c:v>0.9999991376519925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c:f>
              <c:strCache>
                <c:ptCount val="4"/>
                <c:pt idx="0">
                  <c:v>Gillette</c:v>
                </c:pt>
                <c:pt idx="1">
                  <c:v>Gillette</c:v>
                </c:pt>
                <c:pt idx="2">
                  <c:v>Gillette</c:v>
                </c:pt>
                <c:pt idx="3">
                  <c:v>Gillette</c:v>
                </c:pt>
              </c:strCache>
            </c:strRef>
          </c:cat>
          <c:val>
            <c:numRef>
              <c:f>Sheet1!$B$2:$B$5</c:f>
              <c:numCache>
                <c:formatCode>General</c:formatCode>
                <c:ptCount val="4"/>
                <c:pt idx="0">
                  <c:v>0.94</c:v>
                </c:pt>
                <c:pt idx="1">
                  <c:v>0.94</c:v>
                </c:pt>
                <c:pt idx="2">
                  <c:v>0.8</c:v>
                </c:pt>
                <c:pt idx="3">
                  <c:v>0.2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c:f>
              <c:strCache>
                <c:ptCount val="4"/>
                <c:pt idx="0">
                  <c:v>Gillette</c:v>
                </c:pt>
                <c:pt idx="1">
                  <c:v>Gillette</c:v>
                </c:pt>
                <c:pt idx="2">
                  <c:v>Gillette</c:v>
                </c:pt>
                <c:pt idx="3">
                  <c:v>Gillette</c:v>
                </c:pt>
              </c:strCache>
            </c:strRef>
          </c:cat>
          <c:val>
            <c:numRef>
              <c:f>Sheet1!$C$2:$C$5</c:f>
              <c:numCache>
                <c:formatCode>General</c:formatCode>
                <c:ptCount val="4"/>
                <c:pt idx="0">
                  <c:v>0.62970481321161254</c:v>
                </c:pt>
                <c:pt idx="1">
                  <c:v>0.88577830352016507</c:v>
                </c:pt>
                <c:pt idx="2">
                  <c:v>0.98833081359863539</c:v>
                </c:pt>
                <c:pt idx="3">
                  <c:v>0.9999167452986255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c:f>
              <c:strCache>
                <c:ptCount val="33"/>
                <c:pt idx="0">
                  <c:v>Gillette</c:v>
                </c:pt>
                <c:pt idx="1">
                  <c:v>Harry's</c:v>
                </c:pt>
                <c:pt idx="2">
                  <c:v>Gillette</c:v>
                </c:pt>
                <c:pt idx="3">
                  <c:v>Gillette</c:v>
                </c:pt>
                <c:pt idx="4">
                  <c:v>Harry's</c:v>
                </c:pt>
                <c:pt idx="5">
                  <c:v>Gillette</c:v>
                </c:pt>
                <c:pt idx="6">
                  <c:v>Gillette</c:v>
                </c:pt>
                <c:pt idx="7">
                  <c:v>Harry's</c:v>
                </c:pt>
                <c:pt idx="8">
                  <c:v>Gillette</c:v>
                </c:pt>
                <c:pt idx="9">
                  <c:v>Gillette</c:v>
                </c:pt>
                <c:pt idx="10">
                  <c:v>Schick</c:v>
                </c:pt>
                <c:pt idx="11">
                  <c:v>Gillette</c:v>
                </c:pt>
                <c:pt idx="12">
                  <c:v>Gillette</c:v>
                </c:pt>
                <c:pt idx="13">
                  <c:v>Equate</c:v>
                </c:pt>
                <c:pt idx="14">
                  <c:v>Gillette</c:v>
                </c:pt>
                <c:pt idx="15">
                  <c:v>Gillette</c:v>
                </c:pt>
                <c:pt idx="16">
                  <c:v>Dollar Shav</c:v>
                </c:pt>
                <c:pt idx="17">
                  <c:v>Van Der Hag</c:v>
                </c:pt>
                <c:pt idx="18">
                  <c:v>Dollar Shav</c:v>
                </c:pt>
                <c:pt idx="19">
                  <c:v>Schick</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Dollar Shav</c:v>
                </c:pt>
                <c:pt idx="32">
                  <c:v>Dollar Shav</c:v>
                </c:pt>
              </c:strCache>
            </c:strRef>
          </c:cat>
          <c:val>
            <c:numRef>
              <c:f>Sheet1!$B$2:$B$34</c:f>
              <c:numCache>
                <c:formatCode>General</c:formatCode>
                <c:ptCount val="33"/>
                <c:pt idx="0">
                  <c:v>0.99</c:v>
                </c:pt>
                <c:pt idx="1">
                  <c:v>0.99</c:v>
                </c:pt>
                <c:pt idx="2">
                  <c:v>0.99</c:v>
                </c:pt>
                <c:pt idx="3">
                  <c:v>0.88</c:v>
                </c:pt>
                <c:pt idx="4">
                  <c:v>0.9</c:v>
                </c:pt>
                <c:pt idx="5">
                  <c:v>0.87</c:v>
                </c:pt>
                <c:pt idx="6">
                  <c:v>0.52</c:v>
                </c:pt>
                <c:pt idx="7">
                  <c:v>0.74</c:v>
                </c:pt>
                <c:pt idx="8">
                  <c:v>0.76</c:v>
                </c:pt>
                <c:pt idx="9">
                  <c:v>0.68</c:v>
                </c:pt>
                <c:pt idx="10">
                  <c:v>0.79</c:v>
                </c:pt>
                <c:pt idx="11">
                  <c:v>0.54</c:v>
                </c:pt>
                <c:pt idx="12">
                  <c:v>0.53</c:v>
                </c:pt>
                <c:pt idx="13">
                  <c:v>0.83</c:v>
                </c:pt>
                <c:pt idx="14">
                  <c:v>0.32</c:v>
                </c:pt>
                <c:pt idx="15">
                  <c:v>0.54</c:v>
                </c:pt>
                <c:pt idx="16">
                  <c:v>0.83</c:v>
                </c:pt>
                <c:pt idx="17">
                  <c:v>0.8</c:v>
                </c:pt>
                <c:pt idx="18">
                  <c:v>0.47</c:v>
                </c:pt>
                <c:pt idx="19">
                  <c:v>0.31</c:v>
                </c:pt>
                <c:pt idx="20">
                  <c:v>0.52</c:v>
                </c:pt>
                <c:pt idx="21">
                  <c:v>0.54</c:v>
                </c:pt>
                <c:pt idx="22">
                  <c:v>0.31</c:v>
                </c:pt>
                <c:pt idx="23">
                  <c:v>0.33</c:v>
                </c:pt>
                <c:pt idx="24">
                  <c:v>0.23</c:v>
                </c:pt>
                <c:pt idx="25">
                  <c:v>0.17</c:v>
                </c:pt>
                <c:pt idx="26">
                  <c:v>0.67</c:v>
                </c:pt>
                <c:pt idx="27">
                  <c:v>0.15</c:v>
                </c:pt>
                <c:pt idx="28">
                  <c:v>0.04</c:v>
                </c:pt>
                <c:pt idx="29">
                  <c:v>0.04</c:v>
                </c:pt>
                <c:pt idx="30">
                  <c:v>0.01</c:v>
                </c:pt>
                <c:pt idx="31">
                  <c:v>0.01</c:v>
                </c:pt>
                <c:pt idx="3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4</c:f>
              <c:strCache>
                <c:ptCount val="33"/>
                <c:pt idx="0">
                  <c:v>Gillette</c:v>
                </c:pt>
                <c:pt idx="1">
                  <c:v>Harry's</c:v>
                </c:pt>
                <c:pt idx="2">
                  <c:v>Gillette</c:v>
                </c:pt>
                <c:pt idx="3">
                  <c:v>Gillette</c:v>
                </c:pt>
                <c:pt idx="4">
                  <c:v>Harry's</c:v>
                </c:pt>
                <c:pt idx="5">
                  <c:v>Gillette</c:v>
                </c:pt>
                <c:pt idx="6">
                  <c:v>Gillette</c:v>
                </c:pt>
                <c:pt idx="7">
                  <c:v>Harry's</c:v>
                </c:pt>
                <c:pt idx="8">
                  <c:v>Gillette</c:v>
                </c:pt>
                <c:pt idx="9">
                  <c:v>Gillette</c:v>
                </c:pt>
                <c:pt idx="10">
                  <c:v>Schick</c:v>
                </c:pt>
                <c:pt idx="11">
                  <c:v>Gillette</c:v>
                </c:pt>
                <c:pt idx="12">
                  <c:v>Gillette</c:v>
                </c:pt>
                <c:pt idx="13">
                  <c:v>Equate</c:v>
                </c:pt>
                <c:pt idx="14">
                  <c:v>Gillette</c:v>
                </c:pt>
                <c:pt idx="15">
                  <c:v>Gillette</c:v>
                </c:pt>
                <c:pt idx="16">
                  <c:v>Dollar Shav</c:v>
                </c:pt>
                <c:pt idx="17">
                  <c:v>Van Der Hag</c:v>
                </c:pt>
                <c:pt idx="18">
                  <c:v>Dollar Shav</c:v>
                </c:pt>
                <c:pt idx="19">
                  <c:v>Schick</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Dollar Shav</c:v>
                </c:pt>
                <c:pt idx="32">
                  <c:v>Dollar Shav</c:v>
                </c:pt>
              </c:strCache>
            </c:strRef>
          </c:cat>
          <c:val>
            <c:numRef>
              <c:f>Sheet1!$C$2:$C$34</c:f>
              <c:numCache>
                <c:formatCode>General</c:formatCode>
                <c:ptCount val="33"/>
                <c:pt idx="0">
                  <c:v>0.14603919761188924</c:v>
                </c:pt>
                <c:pt idx="1">
                  <c:v>0.25787842539589018</c:v>
                </c:pt>
                <c:pt idx="2">
                  <c:v>0.34751153330949658</c:v>
                </c:pt>
                <c:pt idx="3">
                  <c:v>0.43248198087436562</c:v>
                </c:pt>
                <c:pt idx="4">
                  <c:v>0.4996473188990268</c:v>
                </c:pt>
                <c:pt idx="5">
                  <c:v>0.56326794854585871</c:v>
                </c:pt>
                <c:pt idx="6">
                  <c:v>0.62634342119278041</c:v>
                </c:pt>
                <c:pt idx="7">
                  <c:v>0.66212216062412721</c:v>
                </c:pt>
                <c:pt idx="8">
                  <c:v>0.69754200239080333</c:v>
                </c:pt>
                <c:pt idx="9">
                  <c:v>0.72965732479486334</c:v>
                </c:pt>
                <c:pt idx="10">
                  <c:v>0.7581855711576786</c:v>
                </c:pt>
                <c:pt idx="11">
                  <c:v>0.7865114030388306</c:v>
                </c:pt>
                <c:pt idx="12">
                  <c:v>0.8148257520953186</c:v>
                </c:pt>
                <c:pt idx="13">
                  <c:v>0.8373144286443418</c:v>
                </c:pt>
                <c:pt idx="14">
                  <c:v>0.85843070966628154</c:v>
                </c:pt>
                <c:pt idx="15">
                  <c:v>0.87905655528722715</c:v>
                </c:pt>
                <c:pt idx="16">
                  <c:v>0.89833582193860972</c:v>
                </c:pt>
                <c:pt idx="17">
                  <c:v>0.91230859814112875</c:v>
                </c:pt>
                <c:pt idx="18">
                  <c:v>0.92586466659618594</c:v>
                </c:pt>
                <c:pt idx="19">
                  <c:v>0.93881555059550326</c:v>
                </c:pt>
                <c:pt idx="20">
                  <c:v>0.95167536391645102</c:v>
                </c:pt>
                <c:pt idx="21">
                  <c:v>0.96289946866198572</c:v>
                </c:pt>
                <c:pt idx="22">
                  <c:v>0.97304743475676814</c:v>
                </c:pt>
                <c:pt idx="23">
                  <c:v>0.98294562961713505</c:v>
                </c:pt>
                <c:pt idx="24">
                  <c:v>0.98923188218146763</c:v>
                </c:pt>
                <c:pt idx="25">
                  <c:v>0.99428535452825206</c:v>
                </c:pt>
                <c:pt idx="26">
                  <c:v>0.99823853469654278</c:v>
                </c:pt>
                <c:pt idx="27">
                  <c:v>0.99941049553931871</c:v>
                </c:pt>
                <c:pt idx="28">
                  <c:v>0.9997449229086709</c:v>
                </c:pt>
                <c:pt idx="29">
                  <c:v>0.99984011156554076</c:v>
                </c:pt>
                <c:pt idx="30">
                  <c:v>0.99987543115036936</c:v>
                </c:pt>
                <c:pt idx="31">
                  <c:v>0.99994028931174739</c:v>
                </c:pt>
                <c:pt idx="32">
                  <c:v>0.9999703030396621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7</c:f>
              <c:strCache>
                <c:ptCount val="26"/>
                <c:pt idx="0">
                  <c:v>Gillette</c:v>
                </c:pt>
                <c:pt idx="1">
                  <c:v>Harry's</c:v>
                </c:pt>
                <c:pt idx="2">
                  <c:v>Gillette</c:v>
                </c:pt>
                <c:pt idx="3">
                  <c:v>Gillette</c:v>
                </c:pt>
                <c:pt idx="4">
                  <c:v>Harry's</c:v>
                </c:pt>
                <c:pt idx="5">
                  <c:v>Gillette</c:v>
                </c:pt>
                <c:pt idx="6">
                  <c:v>Gillette</c:v>
                </c:pt>
                <c:pt idx="7">
                  <c:v>Gillette</c:v>
                </c:pt>
                <c:pt idx="8">
                  <c:v>Schick</c:v>
                </c:pt>
                <c:pt idx="9">
                  <c:v>Equate</c:v>
                </c:pt>
                <c:pt idx="10">
                  <c:v>Harry's</c:v>
                </c:pt>
                <c:pt idx="11">
                  <c:v>Dollar Shav</c:v>
                </c:pt>
                <c:pt idx="12">
                  <c:v>Gillette</c:v>
                </c:pt>
                <c:pt idx="13">
                  <c:v>Gillette</c:v>
                </c:pt>
                <c:pt idx="14">
                  <c:v>Gillette</c:v>
                </c:pt>
                <c:pt idx="15">
                  <c:v>Gillette</c:v>
                </c:pt>
                <c:pt idx="16">
                  <c:v>Gillette</c:v>
                </c:pt>
                <c:pt idx="17">
                  <c:v>Dollar Shav</c:v>
                </c:pt>
                <c:pt idx="18">
                  <c:v>Equate</c:v>
                </c:pt>
                <c:pt idx="19">
                  <c:v>Gillette</c:v>
                </c:pt>
                <c:pt idx="20">
                  <c:v>Gillette</c:v>
                </c:pt>
                <c:pt idx="21">
                  <c:v>Gillette</c:v>
                </c:pt>
                <c:pt idx="22">
                  <c:v>Equate</c:v>
                </c:pt>
                <c:pt idx="23">
                  <c:v>Gillette</c:v>
                </c:pt>
                <c:pt idx="24">
                  <c:v>Van Der Hag</c:v>
                </c:pt>
                <c:pt idx="25">
                  <c:v>Schick</c:v>
                </c:pt>
              </c:strCache>
            </c:strRef>
          </c:cat>
          <c:val>
            <c:numRef>
              <c:f>Sheet1!$B$2:$B$27</c:f>
              <c:numCache>
                <c:formatCode>General</c:formatCode>
                <c:ptCount val="26"/>
                <c:pt idx="0">
                  <c:v>0.93</c:v>
                </c:pt>
                <c:pt idx="1">
                  <c:v>0.95</c:v>
                </c:pt>
                <c:pt idx="2">
                  <c:v>0.91</c:v>
                </c:pt>
                <c:pt idx="3">
                  <c:v>0.55000000000000004</c:v>
                </c:pt>
                <c:pt idx="4">
                  <c:v>0.66</c:v>
                </c:pt>
                <c:pt idx="5">
                  <c:v>0.56999999999999995</c:v>
                </c:pt>
                <c:pt idx="6">
                  <c:v>0.28000000000000003</c:v>
                </c:pt>
                <c:pt idx="7">
                  <c:v>0.48</c:v>
                </c:pt>
                <c:pt idx="8">
                  <c:v>0.56000000000000005</c:v>
                </c:pt>
                <c:pt idx="9">
                  <c:v>0.65</c:v>
                </c:pt>
                <c:pt idx="10">
                  <c:v>0.42</c:v>
                </c:pt>
                <c:pt idx="11">
                  <c:v>0.61</c:v>
                </c:pt>
                <c:pt idx="12">
                  <c:v>0.31</c:v>
                </c:pt>
                <c:pt idx="13">
                  <c:v>0.23</c:v>
                </c:pt>
                <c:pt idx="14">
                  <c:v>0.26</c:v>
                </c:pt>
                <c:pt idx="15">
                  <c:v>0.21</c:v>
                </c:pt>
                <c:pt idx="16">
                  <c:v>0.14000000000000001</c:v>
                </c:pt>
                <c:pt idx="17">
                  <c:v>0.27</c:v>
                </c:pt>
                <c:pt idx="18">
                  <c:v>0.4</c:v>
                </c:pt>
                <c:pt idx="19">
                  <c:v>0.21</c:v>
                </c:pt>
                <c:pt idx="20">
                  <c:v>0.16</c:v>
                </c:pt>
                <c:pt idx="21">
                  <c:v>0.08</c:v>
                </c:pt>
                <c:pt idx="22">
                  <c:v>0.41</c:v>
                </c:pt>
                <c:pt idx="23">
                  <c:v>0.06</c:v>
                </c:pt>
                <c:pt idx="24">
                  <c:v>0.13</c:v>
                </c:pt>
                <c:pt idx="2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7</c:f>
              <c:strCache>
                <c:ptCount val="26"/>
                <c:pt idx="0">
                  <c:v>Gillette</c:v>
                </c:pt>
                <c:pt idx="1">
                  <c:v>Harry's</c:v>
                </c:pt>
                <c:pt idx="2">
                  <c:v>Gillette</c:v>
                </c:pt>
                <c:pt idx="3">
                  <c:v>Gillette</c:v>
                </c:pt>
                <c:pt idx="4">
                  <c:v>Harry's</c:v>
                </c:pt>
                <c:pt idx="5">
                  <c:v>Gillette</c:v>
                </c:pt>
                <c:pt idx="6">
                  <c:v>Gillette</c:v>
                </c:pt>
                <c:pt idx="7">
                  <c:v>Gillette</c:v>
                </c:pt>
                <c:pt idx="8">
                  <c:v>Schick</c:v>
                </c:pt>
                <c:pt idx="9">
                  <c:v>Equate</c:v>
                </c:pt>
                <c:pt idx="10">
                  <c:v>Harry's</c:v>
                </c:pt>
                <c:pt idx="11">
                  <c:v>Dollar Shav</c:v>
                </c:pt>
                <c:pt idx="12">
                  <c:v>Gillette</c:v>
                </c:pt>
                <c:pt idx="13">
                  <c:v>Gillette</c:v>
                </c:pt>
                <c:pt idx="14">
                  <c:v>Gillette</c:v>
                </c:pt>
                <c:pt idx="15">
                  <c:v>Gillette</c:v>
                </c:pt>
                <c:pt idx="16">
                  <c:v>Gillette</c:v>
                </c:pt>
                <c:pt idx="17">
                  <c:v>Dollar Shav</c:v>
                </c:pt>
                <c:pt idx="18">
                  <c:v>Equate</c:v>
                </c:pt>
                <c:pt idx="19">
                  <c:v>Gillette</c:v>
                </c:pt>
                <c:pt idx="20">
                  <c:v>Gillette</c:v>
                </c:pt>
                <c:pt idx="21">
                  <c:v>Gillette</c:v>
                </c:pt>
                <c:pt idx="22">
                  <c:v>Equate</c:v>
                </c:pt>
                <c:pt idx="23">
                  <c:v>Gillette</c:v>
                </c:pt>
                <c:pt idx="24">
                  <c:v>Van Der Hag</c:v>
                </c:pt>
                <c:pt idx="25">
                  <c:v>Schick</c:v>
                </c:pt>
              </c:strCache>
            </c:strRef>
          </c:cat>
          <c:val>
            <c:numRef>
              <c:f>Sheet1!$C$2:$C$27</c:f>
              <c:numCache>
                <c:formatCode>General</c:formatCode>
                <c:ptCount val="26"/>
                <c:pt idx="0">
                  <c:v>0.16108026992741747</c:v>
                </c:pt>
                <c:pt idx="1">
                  <c:v>0.30315545610119499</c:v>
                </c:pt>
                <c:pt idx="2">
                  <c:v>0.40955877189211232</c:v>
                </c:pt>
                <c:pt idx="3">
                  <c:v>0.49073444901101904</c:v>
                </c:pt>
                <c:pt idx="4">
                  <c:v>0.55986653420206978</c:v>
                </c:pt>
                <c:pt idx="5">
                  <c:v>0.61429565218744586</c:v>
                </c:pt>
                <c:pt idx="6">
                  <c:v>0.66229980276210865</c:v>
                </c:pt>
                <c:pt idx="7">
                  <c:v>0.70283784065069244</c:v>
                </c:pt>
                <c:pt idx="8">
                  <c:v>0.74264170771169224</c:v>
                </c:pt>
                <c:pt idx="9">
                  <c:v>0.77384892849771414</c:v>
                </c:pt>
                <c:pt idx="10">
                  <c:v>0.80381424505392773</c:v>
                </c:pt>
                <c:pt idx="11">
                  <c:v>0.83202836770714406</c:v>
                </c:pt>
                <c:pt idx="12">
                  <c:v>0.85791722700526973</c:v>
                </c:pt>
                <c:pt idx="13">
                  <c:v>0.88216781931227217</c:v>
                </c:pt>
                <c:pt idx="14">
                  <c:v>0.90259193038488716</c:v>
                </c:pt>
                <c:pt idx="15">
                  <c:v>0.91948369543543773</c:v>
                </c:pt>
                <c:pt idx="16">
                  <c:v>0.93591519334818651</c:v>
                </c:pt>
                <c:pt idx="17">
                  <c:v>0.95111081758111515</c:v>
                </c:pt>
                <c:pt idx="18">
                  <c:v>0.96419049690370151</c:v>
                </c:pt>
                <c:pt idx="19">
                  <c:v>0.97521920562872066</c:v>
                </c:pt>
                <c:pt idx="20">
                  <c:v>0.98352482923330486</c:v>
                </c:pt>
                <c:pt idx="21">
                  <c:v>0.9901218618525498</c:v>
                </c:pt>
                <c:pt idx="22">
                  <c:v>0.99470128643303268</c:v>
                </c:pt>
                <c:pt idx="23">
                  <c:v>0.99880945271202581</c:v>
                </c:pt>
                <c:pt idx="24">
                  <c:v>0.999638945136196</c:v>
                </c:pt>
                <c:pt idx="25">
                  <c:v>0.9999041920687372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Cremo</c:v>
                </c:pt>
                <c:pt idx="2">
                  <c:v>Others</c:v>
                </c:pt>
              </c:strCache>
            </c:strRef>
          </c:cat>
          <c:val>
            <c:numRef>
              <c:f>Sheet1!$B$2:$B$4</c:f>
              <c:numCache>
                <c:formatCode>General</c:formatCode>
                <c:ptCount val="3"/>
                <c:pt idx="0">
                  <c:v>0.99999345956864738</c:v>
                </c:pt>
                <c:pt idx="1">
                  <c:v>4.4750319781444827E-6</c:v>
                </c:pt>
                <c:pt idx="2">
                  <c:v>2.0653993745282227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Cremo</c:v>
                </c:pt>
                <c:pt idx="2">
                  <c:v>Others</c:v>
                </c:pt>
              </c:strCache>
            </c:strRef>
          </c:cat>
          <c:val>
            <c:numRef>
              <c:f>Sheet1!$C$2:$C$4</c:f>
              <c:numCache>
                <c:formatCode>General</c:formatCode>
                <c:ptCount val="3"/>
                <c:pt idx="0">
                  <c:v>1</c:v>
                </c:pt>
                <c:pt idx="1">
                  <c:v>0</c:v>
                </c:pt>
                <c:pt idx="2">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Cremo</c:v>
                </c:pt>
                <c:pt idx="2">
                  <c:v>Others</c:v>
                </c:pt>
              </c:strCache>
            </c:strRef>
          </c:cat>
          <c:val>
            <c:numRef>
              <c:f>Sheet1!$D$2:$D$4</c:f>
              <c:numCache>
                <c:formatCode>General</c:formatCode>
                <c:ptCount val="3"/>
                <c:pt idx="0">
                  <c:v>1.0000065404741301</c:v>
                </c:pt>
                <c:pt idx="1">
                  <c:v>0</c:v>
                </c:pt>
                <c:pt idx="2">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2</c:f>
              <c:strCache>
                <c:ptCount val="31"/>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Gillette</c:v>
                </c:pt>
                <c:pt idx="14">
                  <c:v>Equa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strCache>
            </c:strRef>
          </c:cat>
          <c:val>
            <c:numRef>
              <c:f>Sheet1!$B$2:$B$32</c:f>
              <c:numCache>
                <c:formatCode>General</c:formatCode>
                <c:ptCount val="31"/>
                <c:pt idx="0">
                  <c:v>0.99</c:v>
                </c:pt>
                <c:pt idx="1">
                  <c:v>0.99</c:v>
                </c:pt>
                <c:pt idx="2">
                  <c:v>0.99</c:v>
                </c:pt>
                <c:pt idx="3">
                  <c:v>0.94</c:v>
                </c:pt>
                <c:pt idx="4">
                  <c:v>0.88</c:v>
                </c:pt>
                <c:pt idx="5">
                  <c:v>0.65</c:v>
                </c:pt>
                <c:pt idx="6">
                  <c:v>0.84</c:v>
                </c:pt>
                <c:pt idx="7">
                  <c:v>0.81</c:v>
                </c:pt>
                <c:pt idx="8">
                  <c:v>0.66</c:v>
                </c:pt>
                <c:pt idx="9">
                  <c:v>0.69</c:v>
                </c:pt>
                <c:pt idx="10">
                  <c:v>0.75</c:v>
                </c:pt>
                <c:pt idx="11">
                  <c:v>0.8</c:v>
                </c:pt>
                <c:pt idx="12">
                  <c:v>0.88</c:v>
                </c:pt>
                <c:pt idx="13">
                  <c:v>0.46</c:v>
                </c:pt>
                <c:pt idx="14">
                  <c:v>0.86</c:v>
                </c:pt>
                <c:pt idx="15">
                  <c:v>0.62</c:v>
                </c:pt>
                <c:pt idx="16">
                  <c:v>0.56999999999999995</c:v>
                </c:pt>
                <c:pt idx="17">
                  <c:v>0.49</c:v>
                </c:pt>
                <c:pt idx="18">
                  <c:v>0.59</c:v>
                </c:pt>
                <c:pt idx="19">
                  <c:v>0.93</c:v>
                </c:pt>
                <c:pt idx="20">
                  <c:v>0.56999999999999995</c:v>
                </c:pt>
                <c:pt idx="21">
                  <c:v>0.6</c:v>
                </c:pt>
                <c:pt idx="22">
                  <c:v>0.35</c:v>
                </c:pt>
                <c:pt idx="23">
                  <c:v>0.46</c:v>
                </c:pt>
                <c:pt idx="24">
                  <c:v>0.21</c:v>
                </c:pt>
                <c:pt idx="25">
                  <c:v>0.17</c:v>
                </c:pt>
                <c:pt idx="26">
                  <c:v>0.71</c:v>
                </c:pt>
                <c:pt idx="27">
                  <c:v>0.18</c:v>
                </c:pt>
                <c:pt idx="28">
                  <c:v>0.05</c:v>
                </c:pt>
                <c:pt idx="29">
                  <c:v>7.0000000000000007E-2</c:v>
                </c:pt>
                <c:pt idx="3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2</c:f>
              <c:strCache>
                <c:ptCount val="31"/>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Gillette</c:v>
                </c:pt>
                <c:pt idx="14">
                  <c:v>Equa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strCache>
            </c:strRef>
          </c:cat>
          <c:val>
            <c:numRef>
              <c:f>Sheet1!$C$2:$C$32</c:f>
              <c:numCache>
                <c:formatCode>General</c:formatCode>
                <c:ptCount val="31"/>
                <c:pt idx="0">
                  <c:v>0.13989729773451523</c:v>
                </c:pt>
                <c:pt idx="1">
                  <c:v>0.27546043823635602</c:v>
                </c:pt>
                <c:pt idx="2">
                  <c:v>0.36671832876351557</c:v>
                </c:pt>
                <c:pt idx="3">
                  <c:v>0.43589434976170849</c:v>
                </c:pt>
                <c:pt idx="4">
                  <c:v>0.50194054478903216</c:v>
                </c:pt>
                <c:pt idx="5">
                  <c:v>0.56236535774955621</c:v>
                </c:pt>
                <c:pt idx="6">
                  <c:v>0.61061650478951091</c:v>
                </c:pt>
                <c:pt idx="7">
                  <c:v>0.65156391535650759</c:v>
                </c:pt>
                <c:pt idx="8">
                  <c:v>0.68399419742631129</c:v>
                </c:pt>
                <c:pt idx="9">
                  <c:v>0.71566500568046032</c:v>
                </c:pt>
                <c:pt idx="10">
                  <c:v>0.74576371258680385</c:v>
                </c:pt>
                <c:pt idx="11">
                  <c:v>0.77295374346108603</c:v>
                </c:pt>
                <c:pt idx="12">
                  <c:v>0.79704381816606817</c:v>
                </c:pt>
                <c:pt idx="13">
                  <c:v>0.82073002149432606</c:v>
                </c:pt>
                <c:pt idx="14">
                  <c:v>0.84422057968962438</c:v>
                </c:pt>
                <c:pt idx="15">
                  <c:v>0.86721827729909406</c:v>
                </c:pt>
                <c:pt idx="16">
                  <c:v>0.88867511369927887</c:v>
                </c:pt>
                <c:pt idx="17">
                  <c:v>0.90781271387519236</c:v>
                </c:pt>
                <c:pt idx="18">
                  <c:v>0.9243333366843588</c:v>
                </c:pt>
                <c:pt idx="19">
                  <c:v>0.93857834369333693</c:v>
                </c:pt>
                <c:pt idx="20">
                  <c:v>0.95172947332410562</c:v>
                </c:pt>
                <c:pt idx="21">
                  <c:v>0.9633909699024038</c:v>
                </c:pt>
                <c:pt idx="22">
                  <c:v>0.97395168425811163</c:v>
                </c:pt>
                <c:pt idx="23">
                  <c:v>0.98232938097048306</c:v>
                </c:pt>
                <c:pt idx="24">
                  <c:v>0.9889886160793474</c:v>
                </c:pt>
                <c:pt idx="25">
                  <c:v>0.99382044779705547</c:v>
                </c:pt>
                <c:pt idx="26">
                  <c:v>0.99741217182659792</c:v>
                </c:pt>
                <c:pt idx="27">
                  <c:v>0.99899401910530894</c:v>
                </c:pt>
                <c:pt idx="28">
                  <c:v>0.99956640648732664</c:v>
                </c:pt>
                <c:pt idx="29">
                  <c:v>0.99981408307807196</c:v>
                </c:pt>
                <c:pt idx="30">
                  <c:v>0.9998683472400289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c:f>
              <c:strCache>
                <c:ptCount val="23"/>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B$2:$B$24</c:f>
              <c:numCache>
                <c:formatCode>General</c:formatCode>
                <c:ptCount val="23"/>
                <c:pt idx="0">
                  <c:v>0.98599999999999999</c:v>
                </c:pt>
                <c:pt idx="1">
                  <c:v>0.98799999999999999</c:v>
                </c:pt>
                <c:pt idx="2">
                  <c:v>0.98499999999999999</c:v>
                </c:pt>
                <c:pt idx="3">
                  <c:v>0.92900000000000005</c:v>
                </c:pt>
                <c:pt idx="4">
                  <c:v>0.92100000000000004</c:v>
                </c:pt>
                <c:pt idx="5">
                  <c:v>0.86099999999999999</c:v>
                </c:pt>
                <c:pt idx="6">
                  <c:v>0.61899999999999999</c:v>
                </c:pt>
                <c:pt idx="7">
                  <c:v>0.91</c:v>
                </c:pt>
                <c:pt idx="8">
                  <c:v>0.94899999999999995</c:v>
                </c:pt>
                <c:pt idx="9">
                  <c:v>0.82599999999999996</c:v>
                </c:pt>
                <c:pt idx="10">
                  <c:v>0.97499999999999998</c:v>
                </c:pt>
                <c:pt idx="11">
                  <c:v>0.98499999999999999</c:v>
                </c:pt>
                <c:pt idx="12">
                  <c:v>0.83799999999999997</c:v>
                </c:pt>
                <c:pt idx="13">
                  <c:v>0.78200000000000003</c:v>
                </c:pt>
                <c:pt idx="14">
                  <c:v>0.84899999999999998</c:v>
                </c:pt>
                <c:pt idx="15">
                  <c:v>0.94199999999999995</c:v>
                </c:pt>
                <c:pt idx="16">
                  <c:v>0.89700000000000002</c:v>
                </c:pt>
                <c:pt idx="17">
                  <c:v>0.85199999999999998</c:v>
                </c:pt>
                <c:pt idx="18">
                  <c:v>0.92100000000000004</c:v>
                </c:pt>
                <c:pt idx="19">
                  <c:v>0.96299999999999997</c:v>
                </c:pt>
                <c:pt idx="20">
                  <c:v>0.626</c:v>
                </c:pt>
                <c:pt idx="21">
                  <c:v>0.73499999999999999</c:v>
                </c:pt>
                <c:pt idx="22">
                  <c:v>0.65300000000000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FFBFBF"/>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4</c:f>
              <c:strCache>
                <c:ptCount val="23"/>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C$2:$C$24</c:f>
              <c:numCache>
                <c:formatCode>General</c:formatCode>
                <c:ptCount val="23"/>
                <c:pt idx="0">
                  <c:v>5.5338531387806152E-2</c:v>
                </c:pt>
                <c:pt idx="1">
                  <c:v>0.10790650810667221</c:v>
                </c:pt>
                <c:pt idx="2">
                  <c:v>0.14388799964068727</c:v>
                </c:pt>
                <c:pt idx="3">
                  <c:v>0.17146433485114362</c:v>
                </c:pt>
                <c:pt idx="4">
                  <c:v>0.1984780917301307</c:v>
                </c:pt>
                <c:pt idx="5">
                  <c:v>0.22512293380616138</c:v>
                </c:pt>
                <c:pt idx="6">
                  <c:v>0.24857341977608077</c:v>
                </c:pt>
                <c:pt idx="7">
                  <c:v>0.27093768250167199</c:v>
                </c:pt>
                <c:pt idx="8">
                  <c:v>0.29303024590441645</c:v>
                </c:pt>
                <c:pt idx="9">
                  <c:v>0.31243374082179159</c:v>
                </c:pt>
                <c:pt idx="10">
                  <c:v>0.33031069397314344</c:v>
                </c:pt>
                <c:pt idx="11">
                  <c:v>0.34812722765373427</c:v>
                </c:pt>
                <c:pt idx="12">
                  <c:v>0.36567226150300941</c:v>
                </c:pt>
                <c:pt idx="13">
                  <c:v>0.3813309746811781</c:v>
                </c:pt>
                <c:pt idx="14">
                  <c:v>0.39696321451891869</c:v>
                </c:pt>
                <c:pt idx="15">
                  <c:v>0.41236691848713342</c:v>
                </c:pt>
                <c:pt idx="16">
                  <c:v>0.42683268045183542</c:v>
                </c:pt>
                <c:pt idx="17">
                  <c:v>0.44102990442377027</c:v>
                </c:pt>
                <c:pt idx="18">
                  <c:v>0.45411180381537075</c:v>
                </c:pt>
                <c:pt idx="19">
                  <c:v>0.46658849475668263</c:v>
                </c:pt>
                <c:pt idx="20">
                  <c:v>0.47900073364842621</c:v>
                </c:pt>
                <c:pt idx="21">
                  <c:v>0.49113265029767267</c:v>
                </c:pt>
                <c:pt idx="22">
                  <c:v>0.5032027713917190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D$2:$D$24</c:f>
              <c:numCache>
                <c:formatCode>General</c:formatCode>
                <c:ptCount val="23"/>
                <c:pt idx="0">
                  <c:v>275709.87829614605</c:v>
                </c:pt>
                <c:pt idx="1">
                  <c:v>261376.13360323888</c:v>
                </c:pt>
                <c:pt idx="2">
                  <c:v>179450.4467005076</c:v>
                </c:pt>
                <c:pt idx="3">
                  <c:v>145821.79763186219</c:v>
                </c:pt>
                <c:pt idx="4">
                  <c:v>144087.71986970684</c:v>
                </c:pt>
                <c:pt idx="5">
                  <c:v>152023.80952380953</c:v>
                </c:pt>
                <c:pt idx="6">
                  <c:v>186107.0436187399</c:v>
                </c:pt>
                <c:pt idx="7">
                  <c:v>120729.89010989011</c:v>
                </c:pt>
                <c:pt idx="8">
                  <c:v>114361.93888303479</c:v>
                </c:pt>
                <c:pt idx="9">
                  <c:v>115398.86198547216</c:v>
                </c:pt>
                <c:pt idx="10">
                  <c:v>90072.143589743588</c:v>
                </c:pt>
                <c:pt idx="11">
                  <c:v>88856.375634517768</c:v>
                </c:pt>
                <c:pt idx="12">
                  <c:v>102851.77804295943</c:v>
                </c:pt>
                <c:pt idx="13">
                  <c:v>98367.340153452678</c:v>
                </c:pt>
                <c:pt idx="14">
                  <c:v>90451.366313309787</c:v>
                </c:pt>
                <c:pt idx="15">
                  <c:v>80329.649681528666</c:v>
                </c:pt>
                <c:pt idx="16">
                  <c:v>79222.853957636558</c:v>
                </c:pt>
                <c:pt idx="17">
                  <c:v>81858.814553990611</c:v>
                </c:pt>
                <c:pt idx="18">
                  <c:v>69777.079261672086</c:v>
                </c:pt>
                <c:pt idx="19">
                  <c:v>63646.531671858778</c:v>
                </c:pt>
                <c:pt idx="20">
                  <c:v>97404.137380191693</c:v>
                </c:pt>
                <c:pt idx="21">
                  <c:v>81085.591836734689</c:v>
                </c:pt>
                <c:pt idx="22">
                  <c:v>90802.970903522204</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Gillette</c:v>
                </c:pt>
                <c:pt idx="1">
                  <c:v>Gillette</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Gillette</c:v>
                </c:pt>
                <c:pt idx="1">
                  <c:v>Gillette</c:v>
                </c:pt>
              </c:strCache>
            </c:strRef>
          </c:cat>
          <c:val>
            <c:numRef>
              <c:f>Sheet1!$C$2:$C$3</c:f>
              <c:numCache>
                <c:formatCode>General</c:formatCode>
                <c:ptCount val="2"/>
                <c:pt idx="0">
                  <c:v>0.34197166949411889</c:v>
                </c:pt>
                <c:pt idx="1">
                  <c:v>0.5013977599472890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Gillette</c:v>
                </c:pt>
                <c:pt idx="1">
                  <c:v>Gillette</c:v>
                </c:pt>
              </c:strCache>
            </c:strRef>
          </c:cat>
          <c:val>
            <c:numRef>
              <c:f>Sheet1!$D$2:$D$3</c:f>
              <c:numCache>
                <c:formatCode>General</c:formatCode>
                <c:ptCount val="2"/>
                <c:pt idx="0">
                  <c:v>105878.96</c:v>
                </c:pt>
                <c:pt idx="1">
                  <c:v>49360.4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Gillette</c:v>
                </c:pt>
                <c:pt idx="1">
                  <c:v>Gillette</c:v>
                </c:pt>
              </c:strCache>
            </c:strRef>
          </c:cat>
          <c:val>
            <c:numRef>
              <c:f>Sheet1!$B$2:$B$3</c:f>
              <c:numCache>
                <c:formatCode>General</c:formatCode>
                <c:ptCount val="2"/>
                <c:pt idx="0">
                  <c:v>0.94</c:v>
                </c:pt>
                <c:pt idx="1">
                  <c:v>0.9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Gillette</c:v>
                </c:pt>
                <c:pt idx="1">
                  <c:v>Gillette</c:v>
                </c:pt>
              </c:strCache>
            </c:strRef>
          </c:cat>
          <c:val>
            <c:numRef>
              <c:f>Sheet1!$C$2:$C$3</c:f>
              <c:numCache>
                <c:formatCode>General</c:formatCode>
                <c:ptCount val="2"/>
                <c:pt idx="0">
                  <c:v>0.38562323914737534</c:v>
                </c:pt>
                <c:pt idx="1">
                  <c:v>0.542439396052585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Gillette</c:v>
                </c:pt>
                <c:pt idx="1">
                  <c:v>Gillette</c:v>
                </c:pt>
              </c:strCache>
            </c:strRef>
          </c:cat>
          <c:val>
            <c:numRef>
              <c:f>Sheet1!$D$2:$D$3</c:f>
              <c:numCache>
                <c:formatCode>General</c:formatCode>
                <c:ptCount val="2"/>
                <c:pt idx="0">
                  <c:v>369409.18085106381</c:v>
                </c:pt>
                <c:pt idx="1">
                  <c:v>150222.6063829787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c:f>
              <c:strCache>
                <c:ptCount val="22"/>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strCache>
            </c:strRef>
          </c:cat>
          <c:val>
            <c:numRef>
              <c:f>Sheet1!$B$2:$B$23</c:f>
              <c:numCache>
                <c:formatCode>General</c:formatCode>
                <c:ptCount val="22"/>
                <c:pt idx="0">
                  <c:v>0.99</c:v>
                </c:pt>
                <c:pt idx="1">
                  <c:v>0.99</c:v>
                </c:pt>
                <c:pt idx="2">
                  <c:v>0.99</c:v>
                </c:pt>
                <c:pt idx="3">
                  <c:v>0.88</c:v>
                </c:pt>
                <c:pt idx="4">
                  <c:v>0.93</c:v>
                </c:pt>
                <c:pt idx="5">
                  <c:v>0.94</c:v>
                </c:pt>
                <c:pt idx="6">
                  <c:v>0.9</c:v>
                </c:pt>
                <c:pt idx="7">
                  <c:v>0.87</c:v>
                </c:pt>
                <c:pt idx="8">
                  <c:v>0.52</c:v>
                </c:pt>
                <c:pt idx="9">
                  <c:v>0.95</c:v>
                </c:pt>
                <c:pt idx="10">
                  <c:v>0.96</c:v>
                </c:pt>
                <c:pt idx="11">
                  <c:v>0.98</c:v>
                </c:pt>
                <c:pt idx="12">
                  <c:v>0.88</c:v>
                </c:pt>
                <c:pt idx="13">
                  <c:v>0.98</c:v>
                </c:pt>
                <c:pt idx="14">
                  <c:v>0.79</c:v>
                </c:pt>
                <c:pt idx="15">
                  <c:v>0.77</c:v>
                </c:pt>
                <c:pt idx="16">
                  <c:v>0.9</c:v>
                </c:pt>
                <c:pt idx="17">
                  <c:v>0.81</c:v>
                </c:pt>
                <c:pt idx="18">
                  <c:v>0.95</c:v>
                </c:pt>
                <c:pt idx="19">
                  <c:v>0.74</c:v>
                </c:pt>
                <c:pt idx="20">
                  <c:v>0.99</c:v>
                </c:pt>
                <c:pt idx="21">
                  <c:v>0.7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FFBFBF"/>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3</c:f>
              <c:strCache>
                <c:ptCount val="22"/>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strCache>
            </c:strRef>
          </c:cat>
          <c:val>
            <c:numRef>
              <c:f>Sheet1!$C$2:$C$23</c:f>
              <c:numCache>
                <c:formatCode>General</c:formatCode>
                <c:ptCount val="22"/>
                <c:pt idx="0">
                  <c:v>5.3648963777222558E-2</c:v>
                </c:pt>
                <c:pt idx="1">
                  <c:v>9.4734225668362509E-2</c:v>
                </c:pt>
                <c:pt idx="2">
                  <c:v>0.12766184673401992</c:v>
                </c:pt>
                <c:pt idx="3">
                  <c:v>0.1588765927617051</c:v>
                </c:pt>
                <c:pt idx="4">
                  <c:v>0.18911038778213141</c:v>
                </c:pt>
                <c:pt idx="5">
                  <c:v>0.21708926680348797</c:v>
                </c:pt>
                <c:pt idx="6">
                  <c:v>0.24176312728542615</c:v>
                </c:pt>
                <c:pt idx="7">
                  <c:v>0.26513480359713648</c:v>
                </c:pt>
                <c:pt idx="8">
                  <c:v>0.288306211017896</c:v>
                </c:pt>
                <c:pt idx="9">
                  <c:v>0.31118643724610373</c:v>
                </c:pt>
                <c:pt idx="10">
                  <c:v>0.33212896595097202</c:v>
                </c:pt>
                <c:pt idx="11">
                  <c:v>0.35170856652217475</c:v>
                </c:pt>
                <c:pt idx="12">
                  <c:v>0.37067243625709428</c:v>
                </c:pt>
                <c:pt idx="13">
                  <c:v>0.38832379418432406</c:v>
                </c:pt>
                <c:pt idx="14">
                  <c:v>0.40569627680814674</c:v>
                </c:pt>
                <c:pt idx="15">
                  <c:v>0.42220179063196583</c:v>
                </c:pt>
                <c:pt idx="16">
                  <c:v>0.436844024106044</c:v>
                </c:pt>
                <c:pt idx="17">
                  <c:v>0.45075430445747228</c:v>
                </c:pt>
                <c:pt idx="18">
                  <c:v>0.46461809589435388</c:v>
                </c:pt>
                <c:pt idx="19">
                  <c:v>0.47776177462674607</c:v>
                </c:pt>
                <c:pt idx="20">
                  <c:v>0.49083947284712831</c:v>
                </c:pt>
                <c:pt idx="21">
                  <c:v>0.5038513069232466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strCache>
            </c:strRef>
          </c:cat>
          <c:val>
            <c:numRef>
              <c:f>Sheet1!$D$2:$D$23</c:f>
              <c:numCache>
                <c:formatCode>General</c:formatCode>
                <c:ptCount val="22"/>
                <c:pt idx="0">
                  <c:v>18627.454545454544</c:v>
                </c:pt>
                <c:pt idx="1">
                  <c:v>14265.212121212122</c:v>
                </c:pt>
                <c:pt idx="2">
                  <c:v>11432.797979797981</c:v>
                </c:pt>
                <c:pt idx="3">
                  <c:v>12192.829545454546</c:v>
                </c:pt>
                <c:pt idx="4">
                  <c:v>11174.731182795698</c:v>
                </c:pt>
                <c:pt idx="5">
                  <c:v>10231.276595744681</c:v>
                </c:pt>
                <c:pt idx="6">
                  <c:v>9423.7111111111117</c:v>
                </c:pt>
                <c:pt idx="7">
                  <c:v>9234.1724137931033</c:v>
                </c:pt>
                <c:pt idx="8">
                  <c:v>15317.096153846154</c:v>
                </c:pt>
                <c:pt idx="9">
                  <c:v>8278.7368421052633</c:v>
                </c:pt>
                <c:pt idx="10">
                  <c:v>7498.6875</c:v>
                </c:pt>
                <c:pt idx="11">
                  <c:v>6867.6020408163267</c:v>
                </c:pt>
                <c:pt idx="12">
                  <c:v>7407.5</c:v>
                </c:pt>
                <c:pt idx="13">
                  <c:v>6191.2653061224491</c:v>
                </c:pt>
                <c:pt idx="14">
                  <c:v>7558.9620253164558</c:v>
                </c:pt>
                <c:pt idx="15">
                  <c:v>7368.272727272727</c:v>
                </c:pt>
                <c:pt idx="16">
                  <c:v>5592.3222222222221</c:v>
                </c:pt>
                <c:pt idx="17">
                  <c:v>5903.0740740740739</c:v>
                </c:pt>
                <c:pt idx="18">
                  <c:v>5016.3263157894735</c:v>
                </c:pt>
                <c:pt idx="19">
                  <c:v>6105.3783783783783</c:v>
                </c:pt>
                <c:pt idx="20">
                  <c:v>4540.7070707070707</c:v>
                </c:pt>
                <c:pt idx="21">
                  <c:v>5885.0789473684208</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0</c:f>
              <c:strCache>
                <c:ptCount val="19"/>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strCache>
            </c:strRef>
          </c:cat>
          <c:val>
            <c:numRef>
              <c:f>Sheet1!$B$2:$B$20</c:f>
              <c:numCache>
                <c:formatCode>General</c:formatCode>
                <c:ptCount val="19"/>
                <c:pt idx="0">
                  <c:v>0.93</c:v>
                </c:pt>
                <c:pt idx="1">
                  <c:v>0.95</c:v>
                </c:pt>
                <c:pt idx="2">
                  <c:v>0.91</c:v>
                </c:pt>
                <c:pt idx="3">
                  <c:v>0.76</c:v>
                </c:pt>
                <c:pt idx="4">
                  <c:v>0.55000000000000004</c:v>
                </c:pt>
                <c:pt idx="5">
                  <c:v>0.79</c:v>
                </c:pt>
                <c:pt idx="6">
                  <c:v>0.73</c:v>
                </c:pt>
                <c:pt idx="7">
                  <c:v>0.66</c:v>
                </c:pt>
                <c:pt idx="8">
                  <c:v>0.9</c:v>
                </c:pt>
                <c:pt idx="9">
                  <c:v>0.8</c:v>
                </c:pt>
                <c:pt idx="10">
                  <c:v>0.56999999999999995</c:v>
                </c:pt>
                <c:pt idx="11">
                  <c:v>0.91</c:v>
                </c:pt>
                <c:pt idx="12">
                  <c:v>0.57999999999999996</c:v>
                </c:pt>
                <c:pt idx="13">
                  <c:v>0.87</c:v>
                </c:pt>
                <c:pt idx="14">
                  <c:v>0.28000000000000003</c:v>
                </c:pt>
                <c:pt idx="15">
                  <c:v>0.56000000000000005</c:v>
                </c:pt>
                <c:pt idx="16">
                  <c:v>0.81</c:v>
                </c:pt>
                <c:pt idx="17">
                  <c:v>0.71</c:v>
                </c:pt>
                <c:pt idx="18">
                  <c:v>0.4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FFBFBF"/>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0</c:f>
              <c:strCache>
                <c:ptCount val="19"/>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strCache>
            </c:strRef>
          </c:cat>
          <c:val>
            <c:numRef>
              <c:f>Sheet1!$C$2:$C$20</c:f>
              <c:numCache>
                <c:formatCode>General</c:formatCode>
                <c:ptCount val="19"/>
                <c:pt idx="0">
                  <c:v>6.1087047744617616E-2</c:v>
                </c:pt>
                <c:pt idx="1">
                  <c:v>0.11496672950225129</c:v>
                </c:pt>
                <c:pt idx="2">
                  <c:v>0.15531844008005341</c:v>
                </c:pt>
                <c:pt idx="3">
                  <c:v>0.18654378119524143</c:v>
                </c:pt>
                <c:pt idx="4">
                  <c:v>0.21732832399554053</c:v>
                </c:pt>
                <c:pt idx="5">
                  <c:v>0.24481174850342519</c:v>
                </c:pt>
                <c:pt idx="6">
                  <c:v>0.27186728510731728</c:v>
                </c:pt>
                <c:pt idx="7">
                  <c:v>0.29808449340137838</c:v>
                </c:pt>
                <c:pt idx="8">
                  <c:v>0.32086672088547424</c:v>
                </c:pt>
                <c:pt idx="9">
                  <c:v>0.34317860365717273</c:v>
                </c:pt>
                <c:pt idx="10">
                  <c:v>0.36381995303266296</c:v>
                </c:pt>
                <c:pt idx="11">
                  <c:v>0.38331238649904487</c:v>
                </c:pt>
                <c:pt idx="12">
                  <c:v>0.40225974241738377</c:v>
                </c:pt>
                <c:pt idx="13">
                  <c:v>0.42097371499360536</c:v>
                </c:pt>
                <c:pt idx="14">
                  <c:v>0.43917850096407579</c:v>
                </c:pt>
                <c:pt idx="15">
                  <c:v>0.4552899929118156</c:v>
                </c:pt>
                <c:pt idx="16">
                  <c:v>0.47113719030506346</c:v>
                </c:pt>
                <c:pt idx="17">
                  <c:v>0.48688272743422484</c:v>
                </c:pt>
                <c:pt idx="18">
                  <c:v>0.5022561127475775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strCache>
            </c:strRef>
          </c:cat>
          <c:val>
            <c:numRef>
              <c:f>Sheet1!$D$2:$D$20</c:f>
              <c:numCache>
                <c:formatCode>General</c:formatCode>
                <c:ptCount val="19"/>
                <c:pt idx="0">
                  <c:v>17807.139784946237</c:v>
                </c:pt>
                <c:pt idx="1">
                  <c:v>15375.505263157895</c:v>
                </c:pt>
                <c:pt idx="2">
                  <c:v>12021.219780219781</c:v>
                </c:pt>
                <c:pt idx="3">
                  <c:v>11138.368421052632</c:v>
                </c:pt>
                <c:pt idx="4">
                  <c:v>15173.927272727271</c:v>
                </c:pt>
                <c:pt idx="5">
                  <c:v>9431.3037974683539</c:v>
                </c:pt>
                <c:pt idx="6">
                  <c:v>10047.575342465754</c:v>
                </c:pt>
                <c:pt idx="7">
                  <c:v>10768.878787878788</c:v>
                </c:pt>
                <c:pt idx="8">
                  <c:v>6862.4888888888891</c:v>
                </c:pt>
                <c:pt idx="9">
                  <c:v>7560.9125000000004</c:v>
                </c:pt>
                <c:pt idx="10">
                  <c:v>9817.2807017543873</c:v>
                </c:pt>
                <c:pt idx="11">
                  <c:v>5807.0109890109889</c:v>
                </c:pt>
                <c:pt idx="12">
                  <c:v>8856.2241379310362</c:v>
                </c:pt>
                <c:pt idx="13">
                  <c:v>5831.4252873563219</c:v>
                </c:pt>
                <c:pt idx="14">
                  <c:v>17626.071428571428</c:v>
                </c:pt>
                <c:pt idx="15">
                  <c:v>7799.6607142857129</c:v>
                </c:pt>
                <c:pt idx="16">
                  <c:v>5303.9012345679012</c:v>
                </c:pt>
                <c:pt idx="17">
                  <c:v>6012.1126760563384</c:v>
                </c:pt>
                <c:pt idx="18">
                  <c:v>8682.729166666666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c:f>
              <c:strCache>
                <c:ptCount val="23"/>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B$2:$B$24</c:f>
              <c:numCache>
                <c:formatCode>General</c:formatCode>
                <c:ptCount val="23"/>
                <c:pt idx="0">
                  <c:v>0.99</c:v>
                </c:pt>
                <c:pt idx="1">
                  <c:v>0.99</c:v>
                </c:pt>
                <c:pt idx="2">
                  <c:v>0.99</c:v>
                </c:pt>
                <c:pt idx="3">
                  <c:v>0.94</c:v>
                </c:pt>
                <c:pt idx="4">
                  <c:v>0.94</c:v>
                </c:pt>
                <c:pt idx="5">
                  <c:v>0.88</c:v>
                </c:pt>
                <c:pt idx="6">
                  <c:v>0.65</c:v>
                </c:pt>
                <c:pt idx="7">
                  <c:v>0.96</c:v>
                </c:pt>
                <c:pt idx="8">
                  <c:v>0.92</c:v>
                </c:pt>
                <c:pt idx="9">
                  <c:v>0.84</c:v>
                </c:pt>
                <c:pt idx="10">
                  <c:v>0.99</c:v>
                </c:pt>
                <c:pt idx="11">
                  <c:v>0.86</c:v>
                </c:pt>
                <c:pt idx="12">
                  <c:v>0.98</c:v>
                </c:pt>
                <c:pt idx="13">
                  <c:v>0.89</c:v>
                </c:pt>
                <c:pt idx="14">
                  <c:v>0.81</c:v>
                </c:pt>
                <c:pt idx="15">
                  <c:v>0.95</c:v>
                </c:pt>
                <c:pt idx="16">
                  <c:v>0.91</c:v>
                </c:pt>
                <c:pt idx="17">
                  <c:v>0.87</c:v>
                </c:pt>
                <c:pt idx="18">
                  <c:v>0.94</c:v>
                </c:pt>
                <c:pt idx="19">
                  <c:v>0.66</c:v>
                </c:pt>
                <c:pt idx="20">
                  <c:v>0.69</c:v>
                </c:pt>
                <c:pt idx="21">
                  <c:v>0.97</c:v>
                </c:pt>
                <c:pt idx="22">
                  <c:v>0.7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FFBFBF"/>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4</c:f>
              <c:strCache>
                <c:ptCount val="23"/>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C$2:$C$24</c:f>
              <c:numCache>
                <c:formatCode>General</c:formatCode>
                <c:ptCount val="23"/>
                <c:pt idx="0">
                  <c:v>5.5111046976871095E-2</c:v>
                </c:pt>
                <c:pt idx="1">
                  <c:v>0.10851469898097899</c:v>
                </c:pt>
                <c:pt idx="2">
                  <c:v>0.14446477073573616</c:v>
                </c:pt>
                <c:pt idx="3">
                  <c:v>0.1717159257232985</c:v>
                </c:pt>
                <c:pt idx="4">
                  <c:v>0.19884952815890175</c:v>
                </c:pt>
                <c:pt idx="5">
                  <c:v>0.2248677216175192</c:v>
                </c:pt>
                <c:pt idx="6">
                  <c:v>0.24867143162166533</c:v>
                </c:pt>
                <c:pt idx="7">
                  <c:v>0.27036093617567958</c:v>
                </c:pt>
                <c:pt idx="8">
                  <c:v>0.29198019772813916</c:v>
                </c:pt>
                <c:pt idx="9">
                  <c:v>0.31098822200215476</c:v>
                </c:pt>
                <c:pt idx="10">
                  <c:v>0.32871224990712017</c:v>
                </c:pt>
                <c:pt idx="11">
                  <c:v>0.34618262537262373</c:v>
                </c:pt>
                <c:pt idx="12">
                  <c:v>0.36361396789950667</c:v>
                </c:pt>
                <c:pt idx="13">
                  <c:v>0.37984566708809203</c:v>
                </c:pt>
                <c:pt idx="14">
                  <c:v>0.39597646234920891</c:v>
                </c:pt>
                <c:pt idx="15">
                  <c:v>0.41050138318075297</c:v>
                </c:pt>
                <c:pt idx="16">
                  <c:v>0.42487230132719384</c:v>
                </c:pt>
                <c:pt idx="17">
                  <c:v>0.43856752265819615</c:v>
                </c:pt>
                <c:pt idx="18">
                  <c:v>0.45163108284370895</c:v>
                </c:pt>
                <c:pt idx="19">
                  <c:v>0.4644066462574773</c:v>
                </c:pt>
                <c:pt idx="20">
                  <c:v>0.47688302306928798</c:v>
                </c:pt>
                <c:pt idx="21">
                  <c:v>0.48893975914301141</c:v>
                </c:pt>
                <c:pt idx="22">
                  <c:v>0.5007968234117325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D$2:$D$24</c:f>
              <c:numCache>
                <c:formatCode>General</c:formatCode>
                <c:ptCount val="23"/>
                <c:pt idx="0">
                  <c:v>239240.52525252526</c:v>
                </c:pt>
                <c:pt idx="1">
                  <c:v>231828.61616161617</c:v>
                </c:pt>
                <c:pt idx="2">
                  <c:v>156061.52525252526</c:v>
                </c:pt>
                <c:pt idx="3">
                  <c:v>124591.47872340426</c:v>
                </c:pt>
                <c:pt idx="4">
                  <c:v>124054.03191489361</c:v>
                </c:pt>
                <c:pt idx="5">
                  <c:v>127064.94318181818</c:v>
                </c:pt>
                <c:pt idx="6">
                  <c:v>157384.72307692308</c:v>
                </c:pt>
                <c:pt idx="7">
                  <c:v>97097.864583333328</c:v>
                </c:pt>
                <c:pt idx="8">
                  <c:v>100991.38043478261</c:v>
                </c:pt>
                <c:pt idx="9">
                  <c:v>97249.857142857145</c:v>
                </c:pt>
                <c:pt idx="10">
                  <c:v>76941.121212121216</c:v>
                </c:pt>
                <c:pt idx="11">
                  <c:v>87304.186046511633</c:v>
                </c:pt>
                <c:pt idx="12">
                  <c:v>76442.704081632648</c:v>
                </c:pt>
                <c:pt idx="13">
                  <c:v>78380</c:v>
                </c:pt>
                <c:pt idx="14">
                  <c:v>85585.864197530871</c:v>
                </c:pt>
                <c:pt idx="15">
                  <c:v>65708.484210526309</c:v>
                </c:pt>
                <c:pt idx="16">
                  <c:v>67869.461538461532</c:v>
                </c:pt>
                <c:pt idx="17">
                  <c:v>67652.068965517246</c:v>
                </c:pt>
                <c:pt idx="18">
                  <c:v>59726.212765957447</c:v>
                </c:pt>
                <c:pt idx="19">
                  <c:v>83189.287878787873</c:v>
                </c:pt>
                <c:pt idx="20">
                  <c:v>77708.884057971009</c:v>
                </c:pt>
                <c:pt idx="21">
                  <c:v>53418.206185567011</c:v>
                </c:pt>
                <c:pt idx="22">
                  <c:v>67943.38666666667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strCache>
            </c:strRef>
          </c:cat>
          <c:val>
            <c:numRef>
              <c:f>Sheet1!$B$2:$B$13</c:f>
              <c:numCache>
                <c:formatCode>General</c:formatCode>
                <c:ptCount val="12"/>
                <c:pt idx="0">
                  <c:v>0.98599999999999999</c:v>
                </c:pt>
                <c:pt idx="1">
                  <c:v>0.98799999999999999</c:v>
                </c:pt>
                <c:pt idx="2">
                  <c:v>0.98499999999999999</c:v>
                </c:pt>
                <c:pt idx="3">
                  <c:v>0.92900000000000005</c:v>
                </c:pt>
                <c:pt idx="4">
                  <c:v>0.92100000000000004</c:v>
                </c:pt>
                <c:pt idx="5">
                  <c:v>0.86099999999999999</c:v>
                </c:pt>
                <c:pt idx="6">
                  <c:v>0.61899999999999999</c:v>
                </c:pt>
                <c:pt idx="7">
                  <c:v>0.94899999999999995</c:v>
                </c:pt>
                <c:pt idx="8">
                  <c:v>0.82599999999999996</c:v>
                </c:pt>
                <c:pt idx="9">
                  <c:v>0.83799999999999997</c:v>
                </c:pt>
                <c:pt idx="10">
                  <c:v>0.78200000000000003</c:v>
                </c:pt>
                <c:pt idx="11">
                  <c:v>0.8489999999999999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strCache>
            </c:strRef>
          </c:cat>
          <c:val>
            <c:numRef>
              <c:f>Sheet1!$C$2:$C$13</c:f>
              <c:numCache>
                <c:formatCode>General</c:formatCode>
                <c:ptCount val="12"/>
                <c:pt idx="0">
                  <c:v>8.2511248256966568E-2</c:v>
                </c:pt>
                <c:pt idx="1">
                  <c:v>0.16089152450644711</c:v>
                </c:pt>
                <c:pt idx="2">
                  <c:v>0.21454090236603462</c:v>
                </c:pt>
                <c:pt idx="3">
                  <c:v>0.2556579646281652</c:v>
                </c:pt>
                <c:pt idx="4">
                  <c:v>0.29593620736965198</c:v>
                </c:pt>
                <c:pt idx="5">
                  <c:v>0.33566438815378236</c:v>
                </c:pt>
                <c:pt idx="6">
                  <c:v>0.37062969751573072</c:v>
                </c:pt>
                <c:pt idx="7">
                  <c:v>0.40357030757243878</c:v>
                </c:pt>
                <c:pt idx="8">
                  <c:v>0.43250144372711291</c:v>
                </c:pt>
                <c:pt idx="9">
                  <c:v>0.45866156412259951</c:v>
                </c:pt>
                <c:pt idx="10">
                  <c:v>0.48200912933668483</c:v>
                </c:pt>
                <c:pt idx="11">
                  <c:v>0.5053172220835854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3</c:f>
              <c:strCache>
                <c:ptCount val="12"/>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strCache>
            </c:strRef>
          </c:cat>
          <c:val>
            <c:numRef>
              <c:f>Sheet1!$D$2:$D$13</c:f>
              <c:numCache>
                <c:formatCode>General</c:formatCode>
                <c:ptCount val="12"/>
                <c:pt idx="0">
                  <c:v>275709.87829614605</c:v>
                </c:pt>
                <c:pt idx="1">
                  <c:v>261376.13360323888</c:v>
                </c:pt>
                <c:pt idx="2">
                  <c:v>179450.4467005076</c:v>
                </c:pt>
                <c:pt idx="3">
                  <c:v>145821.79763186219</c:v>
                </c:pt>
                <c:pt idx="4">
                  <c:v>144087.71986970684</c:v>
                </c:pt>
                <c:pt idx="5">
                  <c:v>152023.80952380953</c:v>
                </c:pt>
                <c:pt idx="6">
                  <c:v>186107.0436187399</c:v>
                </c:pt>
                <c:pt idx="7">
                  <c:v>114361.93888303479</c:v>
                </c:pt>
                <c:pt idx="8">
                  <c:v>115398.86198547216</c:v>
                </c:pt>
                <c:pt idx="9">
                  <c:v>102851.77804295943</c:v>
                </c:pt>
                <c:pt idx="10">
                  <c:v>98367.340153452678</c:v>
                </c:pt>
                <c:pt idx="11">
                  <c:v>90451.366313309787</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Gillette</c:v>
                </c:pt>
                <c:pt idx="1">
                  <c:v>Gillette</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Gillette</c:v>
                </c:pt>
                <c:pt idx="1">
                  <c:v>Gillette</c:v>
                </c:pt>
              </c:strCache>
            </c:strRef>
          </c:cat>
          <c:val>
            <c:numRef>
              <c:f>Sheet1!$C$2:$C$3</c:f>
              <c:numCache>
                <c:formatCode>General</c:formatCode>
                <c:ptCount val="2"/>
                <c:pt idx="0">
                  <c:v>0.46667755944280054</c:v>
                </c:pt>
                <c:pt idx="1">
                  <c:v>0.6842411339759013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Gillette</c:v>
                </c:pt>
                <c:pt idx="1">
                  <c:v>Gillette</c:v>
                </c:pt>
              </c:strCache>
            </c:strRef>
          </c:cat>
          <c:val>
            <c:numRef>
              <c:f>Sheet1!$D$2:$D$3</c:f>
              <c:numCache>
                <c:formatCode>General</c:formatCode>
                <c:ptCount val="2"/>
                <c:pt idx="0">
                  <c:v>105878.96</c:v>
                </c:pt>
                <c:pt idx="1">
                  <c:v>49360.4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Gillette</c:v>
                </c:pt>
              </c:strCache>
            </c:strRef>
          </c:cat>
          <c:val>
            <c:numRef>
              <c:f>Sheet1!$B$2:$B$2</c:f>
              <c:numCache>
                <c:formatCode>General</c:formatCode>
                <c:ptCount val="1"/>
                <c:pt idx="0">
                  <c:v>0.9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Gillette</c:v>
                </c:pt>
              </c:strCache>
            </c:strRef>
          </c:cat>
          <c:val>
            <c:numRef>
              <c:f>Sheet1!$C$2:$C$2</c:f>
              <c:numCache>
                <c:formatCode>General</c:formatCode>
                <c:ptCount val="1"/>
                <c:pt idx="0">
                  <c:v>0.5197093055146986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Gillette</c:v>
                </c:pt>
              </c:strCache>
            </c:strRef>
          </c:cat>
          <c:val>
            <c:numRef>
              <c:f>Sheet1!$D$2:$D$2</c:f>
              <c:numCache>
                <c:formatCode>General</c:formatCode>
                <c:ptCount val="1"/>
                <c:pt idx="0">
                  <c:v>369409.1808510638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7/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7/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7/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7/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7/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7/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7/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7/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7/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7/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7/9/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chart" Target="../charts/chart2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2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2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2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2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2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2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chart" Target="../charts/chart2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chart" Target="../charts/chart2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chart" Target="../charts/chart2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chart" Target="../charts/chart2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chart" Target="../charts/chart2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chart" Target="../charts/chart2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chart" Target="../charts/chart2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chart" Target="../charts/chart2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chart" Target="../charts/chart2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chart" Target="../charts/chart2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chart" Target="../charts/chart2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chart" Target="../charts/chart2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chart" Target="../charts/chart2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278.xml"/><Relationship Id="rId6" Type="http://schemas.openxmlformats.org/officeDocument/2006/relationships/chart" Target="../charts/chart2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chart" Target="../charts/chart2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chart" Target="../charts/chart2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chart" Target="../charts/chart2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chart" Target="../charts/chart2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chart" Target="../charts/chart2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284.xml"/><Relationship Id="rId6" Type="http://schemas.openxmlformats.org/officeDocument/2006/relationships/chart" Target="../charts/chart2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285.xml"/><Relationship Id="rId6" Type="http://schemas.openxmlformats.org/officeDocument/2006/relationships/chart" Target="../charts/chart2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286.xml"/><Relationship Id="rId6" Type="http://schemas.openxmlformats.org/officeDocument/2006/relationships/chart" Target="../charts/chart2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287.xml"/><Relationship Id="rId6" Type="http://schemas.openxmlformats.org/officeDocument/2006/relationships/chart" Target="../charts/chart2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288.xml"/><Relationship Id="rId6" Type="http://schemas.openxmlformats.org/officeDocument/2006/relationships/chart" Target="../charts/chart2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289.xml"/><Relationship Id="rId6" Type="http://schemas.openxmlformats.org/officeDocument/2006/relationships/chart" Target="../charts/chart2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290.xml"/><Relationship Id="rId6" Type="http://schemas.openxmlformats.org/officeDocument/2006/relationships/chart" Target="../charts/chart2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291.xml"/><Relationship Id="rId6" Type="http://schemas.openxmlformats.org/officeDocument/2006/relationships/chart" Target="../charts/chart2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292.xml"/><Relationship Id="rId6" Type="http://schemas.openxmlformats.org/officeDocument/2006/relationships/chart" Target="../charts/chart2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293.xml"/><Relationship Id="rId6" Type="http://schemas.openxmlformats.org/officeDocument/2006/relationships/chart" Target="../charts/chart2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294.xml"/><Relationship Id="rId6" Type="http://schemas.openxmlformats.org/officeDocument/2006/relationships/chart" Target="../charts/chart2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295.xml"/><Relationship Id="rId6" Type="http://schemas.openxmlformats.org/officeDocument/2006/relationships/chart" Target="../charts/chart2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296.xml"/><Relationship Id="rId6" Type="http://schemas.openxmlformats.org/officeDocument/2006/relationships/chart" Target="../charts/chart2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297.xml"/><Relationship Id="rId6" Type="http://schemas.openxmlformats.org/officeDocument/2006/relationships/chart" Target="../charts/chart2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298.xml"/><Relationship Id="rId6" Type="http://schemas.openxmlformats.org/officeDocument/2006/relationships/chart" Target="../charts/chart2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299.xml"/><Relationship Id="rId6" Type="http://schemas.openxmlformats.org/officeDocument/2006/relationships/chart" Target="../charts/chart2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300.xml"/><Relationship Id="rId6" Type="http://schemas.openxmlformats.org/officeDocument/2006/relationships/chart" Target="../charts/chart2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301.xml"/><Relationship Id="rId6" Type="http://schemas.openxmlformats.org/officeDocument/2006/relationships/chart" Target="../charts/chart2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302.xml"/><Relationship Id="rId6" Type="http://schemas.openxmlformats.org/officeDocument/2006/relationships/chart" Target="../charts/chart2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303.xml"/><Relationship Id="rId6" Type="http://schemas.openxmlformats.org/officeDocument/2006/relationships/chart" Target="../charts/chart2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304.xml"/><Relationship Id="rId6" Type="http://schemas.openxmlformats.org/officeDocument/2006/relationships/chart" Target="../charts/chart2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305.xml"/><Relationship Id="rId6" Type="http://schemas.openxmlformats.org/officeDocument/2006/relationships/chart" Target="../charts/chart2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306.xml"/><Relationship Id="rId6" Type="http://schemas.openxmlformats.org/officeDocument/2006/relationships/chart" Target="../charts/chart2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307.xml"/><Relationship Id="rId6" Type="http://schemas.openxmlformats.org/officeDocument/2006/relationships/chart" Target="../charts/chart2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308.xml"/><Relationship Id="rId6" Type="http://schemas.openxmlformats.org/officeDocument/2006/relationships/chart" Target="../charts/chart2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5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5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5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5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5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5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5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5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6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6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6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6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6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6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6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6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6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6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27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27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27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27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27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27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27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27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27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27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28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28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28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28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28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28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28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28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28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28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29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29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29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29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29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29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29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29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29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29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0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0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0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5.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6.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7.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1.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3.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5.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9.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03.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04.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05.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06.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07.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08.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09.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10.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11.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12.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13.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14.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15.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16.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17.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18.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19.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20.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21.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22.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23.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24.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25.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26.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27.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28.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29.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30.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31.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3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24424107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69449279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419409050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70919514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86288588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35422204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154897893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412833171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188204801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09255059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306150377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31088063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271731793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103774169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18021771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37847835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232572293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22206110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235856837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277760412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409244256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54145036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651500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05252897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281570629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Pbg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11708249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Pbg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110190848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Pbg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27851532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Pbg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361542272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Pbg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169185150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Pbg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109926358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Pbg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239138594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Pbg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99448041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Pbg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33743376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28832578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Pbg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283551186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Pbg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284870068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Pbg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285996269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Pbg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237564804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Pbg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261795509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Pbg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381244252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Pbg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6930312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Pbg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149241171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Pbg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413501315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Pbg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1035099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43111247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Pbg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1384936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Pbg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417526009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Pbg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127067116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Pbg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71389307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Pbg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329292880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81581589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quat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16512493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Cremo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174251202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64751263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Sam'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1162344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175027471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129350130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quat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300549123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Cremo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375489717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320693760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quat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137597349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195668301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quat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415429489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Cremo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208389831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Schick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169920407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quat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1570992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80397337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Cremo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209863486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Schick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285257332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quat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111112278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Cremo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80470413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Schick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220020967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quat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13115573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Schick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383146511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quat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281893511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Cremo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422689716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3864934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279467356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quat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206674758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20710763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Sam'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196537456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228753522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quat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4270397991"/>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166186340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quat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378377918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179019429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quat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285431117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Schick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26358133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131208929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quat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87386062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Cremo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219410820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Schick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200891736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quat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144478799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Cremo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73773140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Schick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222493027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quat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235102649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Schick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246561750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quat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215456211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Cremo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31368271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251287465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Schick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129801629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quat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307206715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Cremo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23235115"/>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Schick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86867307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quat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75994086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Cremo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25713339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Schick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226915027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quat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300397713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Schick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276582777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quat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2611084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33072646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06362572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Cremo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1266598985"/>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12717219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3"/>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93141">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93141">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1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93141">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93141">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93141">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BG PL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93141">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3 3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93141">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3 BLADE DISPOSABLE SENSITIVE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93141">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HOLIDAY GIFT PACK 6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375452485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34528">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34528">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INTIMATE BLACK 5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34528">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34528">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3 SENSITIVE BLUE GRAY 3 BLADE DISPOSABLE SENSITIVE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60033723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135560008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69573505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15634862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1391994773"/>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2834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1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28340">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3 3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2834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HOLIDAY GIFT PACK 6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181179924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INTIMATE BLACK 5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13622037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85606762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298487097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355251878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9423754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BLUE 2 BLADE DISPOSABLE NORMAL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SPEED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5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225987736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BG PL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3 BLADE DISPOSABLE SENSITIVE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374858475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3 SENSITIVE BLUE GRAY 3 BLADE DISPOSABLE SENSITIVE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187762541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BLUE 2 BLADE DISPOSABLE NORMAL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BASE 3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51676908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COMFORT 3 MULTI COLOR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4 4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122069634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BLUE 2 BLADE DISPOSABLE NORMAL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5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SPEED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114882031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CRAFT HANDLE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BLACK HOLIDAY GIFT PACK 5 BLADE RAZOR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AZOR SENSITIVE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33206940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264861854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1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3 3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HOLIDAY GIFT PACK 6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212472425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INTIMATE BLACK 5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79878883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AZOR SENSITIVE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CRAFT HANDLE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SILVER BLACK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3546691224"/>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AZOR SENSITIVE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SILVER BLACK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RED BLUE WHITE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353043873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CRAFT HANDLE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BLACK HOLIDAY GIFT PACK 5 BLADE RAZOR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944395632"/>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EFILL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22284943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202611585"/>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241135719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EFILL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412295478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EFILL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2562962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285634165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EFILL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268013829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613717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119720381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3893786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267214273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5257905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138928123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1845059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652919545"/>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6598736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356731833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Cremo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0598064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113080313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3743059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264107211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667300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1539252995"/>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7329105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20563944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4058926676"/>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8971786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56939374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771875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369672053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9560782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377735079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2114590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2515269114"/>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194547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290227801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2508463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2610070770"/>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6642256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34855887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Cremo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4280954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322371270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5657641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285375388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9906796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2732505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187327609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4483943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3056463931"/>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362144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206793120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3009139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68940203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958874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352000882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2322632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44574349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1059826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3780094018"/>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5151905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373876968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8841093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133924120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1932169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116738120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2754002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8075070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38545455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9299532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1702982221"/>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3425015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2594377005"/>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29187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1651162796"/>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8607034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3102070421"/>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3138338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26475249"/>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2348648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410392792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Cremo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69970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817520978"/>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8534718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2799812545"/>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7400530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255227046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3007569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30244793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966153086"/>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4362251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422511140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8425670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205107597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7863733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2041119427"/>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1372380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3086344097"/>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1871001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723334073"/>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2108670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1371960241"/>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6473712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29431641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9643109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2529731000"/>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8329720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281427800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8395560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36589674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410487107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5152458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297553310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8481983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2434623860"/>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0850138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20149197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1485257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3294627681"/>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68840998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1152370685"/>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60946398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354947894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1300020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71418852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Cremo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1908598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4087036503"/>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1073556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98534136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198152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9133330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3316170784"/>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8995348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1624954299"/>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9540936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232297936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6998788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222708610"/>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7114807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2969368526"/>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8954573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46962677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7423413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358761695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6332910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3945363160"/>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2684283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337667819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Cremo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424495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1994473372"/>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109699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2530225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35287618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1894963947"/>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3658677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3154809309"/>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8223128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2843513134"/>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5589937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3903970393"/>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0608720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101540592"/>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86515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119600496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35471966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3480117520"/>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2964949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234157758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136321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4175851592"/>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2588101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249561192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8987094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35619949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547478620"/>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832200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1990144258"/>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5632610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1005168209"/>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184164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148866557"/>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963517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2561253124"/>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9933612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449511150"/>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8825182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619923101"/>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2730525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2299952624"/>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Cremo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1702530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3709082914"/>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0319204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2601808579"/>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6136712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8639563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2959426256"/>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1899074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759213309"/>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8394097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122742181"/>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728516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4198654277"/>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098113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275554390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1350853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2338375594"/>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2418472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237628298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7141374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1374409029"/>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2898286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4081566458"/>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8020692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1390570337"/>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4692945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15260885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3753319793"/>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6044727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30</a:t>
            </a:fld>
            <a:endParaRPr lang="en-US"/>
          </a:p>
        </p:txBody>
      </p:sp>
    </p:spTree>
    <p:extLst>
      <p:ext uri="{BB962C8B-B14F-4D97-AF65-F5344CB8AC3E}">
        <p14:creationId xmlns:p14="http://schemas.microsoft.com/office/powerpoint/2010/main" val="3991400860"/>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1906247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31</a:t>
            </a:fld>
            <a:endParaRPr lang="en-US"/>
          </a:p>
        </p:txBody>
      </p:sp>
    </p:spTree>
    <p:extLst>
      <p:ext uri="{BB962C8B-B14F-4D97-AF65-F5344CB8AC3E}">
        <p14:creationId xmlns:p14="http://schemas.microsoft.com/office/powerpoint/2010/main" val="1066426183"/>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3338025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32</a:t>
            </a:fld>
            <a:endParaRPr lang="en-US"/>
          </a:p>
        </p:txBody>
      </p:sp>
    </p:spTree>
    <p:extLst>
      <p:ext uri="{BB962C8B-B14F-4D97-AF65-F5344CB8AC3E}">
        <p14:creationId xmlns:p14="http://schemas.microsoft.com/office/powerpoint/2010/main" val="1982424929"/>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3</a:t>
            </a:fld>
            <a:endParaRPr lang="en-US"/>
          </a:p>
        </p:txBody>
      </p:sp>
    </p:spTree>
    <p:extLst>
      <p:ext uri="{BB962C8B-B14F-4D97-AF65-F5344CB8AC3E}">
        <p14:creationId xmlns:p14="http://schemas.microsoft.com/office/powerpoint/2010/main" val="157622985"/>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Bj's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4</a:t>
            </a:fld>
            <a:endParaRPr lang="en-US"/>
          </a:p>
        </p:txBody>
      </p:sp>
    </p:spTree>
    <p:extLst>
      <p:ext uri="{BB962C8B-B14F-4D97-AF65-F5344CB8AC3E}">
        <p14:creationId xmlns:p14="http://schemas.microsoft.com/office/powerpoint/2010/main" val="1127389108"/>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Nm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5</a:t>
            </a:fld>
            <a:endParaRPr lang="en-US"/>
          </a:p>
        </p:txBody>
      </p:sp>
    </p:spTree>
    <p:extLst>
      <p:ext uri="{BB962C8B-B14F-4D97-AF65-F5344CB8AC3E}">
        <p14:creationId xmlns:p14="http://schemas.microsoft.com/office/powerpoint/2010/main" val="1450093643"/>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Div1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6</a:t>
            </a:fld>
            <a:endParaRPr lang="en-US"/>
          </a:p>
        </p:txBody>
      </p:sp>
    </p:spTree>
    <p:extLst>
      <p:ext uri="{BB962C8B-B14F-4D97-AF65-F5344CB8AC3E}">
        <p14:creationId xmlns:p14="http://schemas.microsoft.com/office/powerpoint/2010/main" val="100187183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Sc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5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7</a:t>
            </a:fld>
            <a:endParaRPr lang="en-US"/>
          </a:p>
        </p:txBody>
      </p:sp>
    </p:spTree>
    <p:extLst>
      <p:ext uri="{BB962C8B-B14F-4D97-AF65-F5344CB8AC3E}">
        <p14:creationId xmlns:p14="http://schemas.microsoft.com/office/powerpoint/2010/main" val="353746543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8</a:t>
            </a:fld>
            <a:endParaRPr lang="en-US"/>
          </a:p>
        </p:txBody>
      </p:sp>
    </p:spTree>
    <p:extLst>
      <p:ext uri="{BB962C8B-B14F-4D97-AF65-F5344CB8AC3E}">
        <p14:creationId xmlns:p14="http://schemas.microsoft.com/office/powerpoint/2010/main" val="801935878"/>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Div1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9</a:t>
            </a:fld>
            <a:endParaRPr lang="en-US"/>
          </a:p>
        </p:txBody>
      </p:sp>
    </p:spTree>
    <p:extLst>
      <p:ext uri="{BB962C8B-B14F-4D97-AF65-F5344CB8AC3E}">
        <p14:creationId xmlns:p14="http://schemas.microsoft.com/office/powerpoint/2010/main" val="28860991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85242306"/>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Nm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0</a:t>
            </a:fld>
            <a:endParaRPr lang="en-US"/>
          </a:p>
        </p:txBody>
      </p:sp>
    </p:spTree>
    <p:extLst>
      <p:ext uri="{BB962C8B-B14F-4D97-AF65-F5344CB8AC3E}">
        <p14:creationId xmlns:p14="http://schemas.microsoft.com/office/powerpoint/2010/main" val="1434586070"/>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Sc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5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1</a:t>
            </a:fld>
            <a:endParaRPr lang="en-US"/>
          </a:p>
        </p:txBody>
      </p:sp>
    </p:spTree>
    <p:extLst>
      <p:ext uri="{BB962C8B-B14F-4D97-AF65-F5344CB8AC3E}">
        <p14:creationId xmlns:p14="http://schemas.microsoft.com/office/powerpoint/2010/main" val="1384056374"/>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Bj's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2</a:t>
            </a:fld>
            <a:endParaRPr lang="en-US"/>
          </a:p>
        </p:txBody>
      </p:sp>
    </p:spTree>
    <p:extLst>
      <p:ext uri="{BB962C8B-B14F-4D97-AF65-F5344CB8AC3E}">
        <p14:creationId xmlns:p14="http://schemas.microsoft.com/office/powerpoint/2010/main" val="3250062908"/>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3</a:t>
            </a:fld>
            <a:endParaRPr lang="en-US"/>
          </a:p>
        </p:txBody>
      </p:sp>
    </p:spTree>
    <p:extLst>
      <p:ext uri="{BB962C8B-B14F-4D97-AF65-F5344CB8AC3E}">
        <p14:creationId xmlns:p14="http://schemas.microsoft.com/office/powerpoint/2010/main" val="2139528280"/>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Div1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4</a:t>
            </a:fld>
            <a:endParaRPr lang="en-US"/>
          </a:p>
        </p:txBody>
      </p:sp>
    </p:spTree>
    <p:extLst>
      <p:ext uri="{BB962C8B-B14F-4D97-AF65-F5344CB8AC3E}">
        <p14:creationId xmlns:p14="http://schemas.microsoft.com/office/powerpoint/2010/main" val="1621741506"/>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Sc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5</a:t>
            </a:fld>
            <a:endParaRPr lang="en-US"/>
          </a:p>
        </p:txBody>
      </p:sp>
    </p:spTree>
    <p:extLst>
      <p:ext uri="{BB962C8B-B14F-4D97-AF65-F5344CB8AC3E}">
        <p14:creationId xmlns:p14="http://schemas.microsoft.com/office/powerpoint/2010/main" val="120618805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Nm Corp | Pbg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6</a:t>
            </a:fld>
            <a:endParaRPr lang="en-US"/>
          </a:p>
        </p:txBody>
      </p:sp>
    </p:spTree>
    <p:extLst>
      <p:ext uri="{BB962C8B-B14F-4D97-AF65-F5344CB8AC3E}">
        <p14:creationId xmlns:p14="http://schemas.microsoft.com/office/powerpoint/2010/main" val="2796353599"/>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7</a:t>
            </a:fld>
            <a:endParaRPr lang="en-US"/>
          </a:p>
        </p:txBody>
      </p:sp>
    </p:spTree>
    <p:extLst>
      <p:ext uri="{BB962C8B-B14F-4D97-AF65-F5344CB8AC3E}">
        <p14:creationId xmlns:p14="http://schemas.microsoft.com/office/powerpoint/2010/main" val="2994446996"/>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Div1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8</a:t>
            </a:fld>
            <a:endParaRPr lang="en-US"/>
          </a:p>
        </p:txBody>
      </p:sp>
    </p:spTree>
    <p:extLst>
      <p:ext uri="{BB962C8B-B14F-4D97-AF65-F5344CB8AC3E}">
        <p14:creationId xmlns:p14="http://schemas.microsoft.com/office/powerpoint/2010/main" val="151497962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Nm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9</a:t>
            </a:fld>
            <a:endParaRPr lang="en-US"/>
          </a:p>
        </p:txBody>
      </p:sp>
    </p:spTree>
    <p:extLst>
      <p:ext uri="{BB962C8B-B14F-4D97-AF65-F5344CB8AC3E}">
        <p14:creationId xmlns:p14="http://schemas.microsoft.com/office/powerpoint/2010/main" val="9158464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2761003879"/>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Sc Corp | Equa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50</a:t>
            </a:fld>
            <a:endParaRPr lang="en-US"/>
          </a:p>
        </p:txBody>
      </p:sp>
    </p:spTree>
    <p:extLst>
      <p:ext uri="{BB962C8B-B14F-4D97-AF65-F5344CB8AC3E}">
        <p14:creationId xmlns:p14="http://schemas.microsoft.com/office/powerpoint/2010/main" val="261150059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1</a:t>
            </a:fld>
            <a:endParaRPr lang="en-US"/>
          </a:p>
        </p:txBody>
      </p:sp>
    </p:spTree>
    <p:extLst>
      <p:ext uri="{BB962C8B-B14F-4D97-AF65-F5344CB8AC3E}">
        <p14:creationId xmlns:p14="http://schemas.microsoft.com/office/powerpoint/2010/main" val="2820767024"/>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2</a:t>
            </a:fld>
            <a:endParaRPr lang="en-US"/>
          </a:p>
        </p:txBody>
      </p:sp>
    </p:spTree>
    <p:extLst>
      <p:ext uri="{BB962C8B-B14F-4D97-AF65-F5344CB8AC3E}">
        <p14:creationId xmlns:p14="http://schemas.microsoft.com/office/powerpoint/2010/main" val="2682304573"/>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3</a:t>
            </a:fld>
            <a:endParaRPr lang="en-US"/>
          </a:p>
        </p:txBody>
      </p:sp>
    </p:spTree>
    <p:extLst>
      <p:ext uri="{BB962C8B-B14F-4D97-AF65-F5344CB8AC3E}">
        <p14:creationId xmlns:p14="http://schemas.microsoft.com/office/powerpoint/2010/main" val="444806981"/>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4</a:t>
            </a:fld>
            <a:endParaRPr lang="en-US"/>
          </a:p>
        </p:txBody>
      </p:sp>
    </p:spTree>
    <p:extLst>
      <p:ext uri="{BB962C8B-B14F-4D97-AF65-F5344CB8AC3E}">
        <p14:creationId xmlns:p14="http://schemas.microsoft.com/office/powerpoint/2010/main" val="3645740313"/>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5</a:t>
            </a:fld>
            <a:endParaRPr lang="en-US"/>
          </a:p>
        </p:txBody>
      </p:sp>
    </p:spTree>
    <p:extLst>
      <p:ext uri="{BB962C8B-B14F-4D97-AF65-F5344CB8AC3E}">
        <p14:creationId xmlns:p14="http://schemas.microsoft.com/office/powerpoint/2010/main" val="861645445"/>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6</a:t>
            </a:fld>
            <a:endParaRPr lang="en-US"/>
          </a:p>
        </p:txBody>
      </p:sp>
    </p:spTree>
    <p:extLst>
      <p:ext uri="{BB962C8B-B14F-4D97-AF65-F5344CB8AC3E}">
        <p14:creationId xmlns:p14="http://schemas.microsoft.com/office/powerpoint/2010/main" val="1213228779"/>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7</a:t>
            </a:fld>
            <a:endParaRPr lang="en-US"/>
          </a:p>
        </p:txBody>
      </p:sp>
    </p:spTree>
    <p:extLst>
      <p:ext uri="{BB962C8B-B14F-4D97-AF65-F5344CB8AC3E}">
        <p14:creationId xmlns:p14="http://schemas.microsoft.com/office/powerpoint/2010/main" val="3913403451"/>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8</a:t>
            </a:fld>
            <a:endParaRPr lang="en-US"/>
          </a:p>
        </p:txBody>
      </p:sp>
    </p:spTree>
    <p:extLst>
      <p:ext uri="{BB962C8B-B14F-4D97-AF65-F5344CB8AC3E}">
        <p14:creationId xmlns:p14="http://schemas.microsoft.com/office/powerpoint/2010/main" val="3861869110"/>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9</a:t>
            </a:fld>
            <a:endParaRPr lang="en-US"/>
          </a:p>
        </p:txBody>
      </p:sp>
    </p:spTree>
    <p:extLst>
      <p:ext uri="{BB962C8B-B14F-4D97-AF65-F5344CB8AC3E}">
        <p14:creationId xmlns:p14="http://schemas.microsoft.com/office/powerpoint/2010/main" val="42550043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387370958"/>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0</a:t>
            </a:fld>
            <a:endParaRPr lang="en-US"/>
          </a:p>
        </p:txBody>
      </p:sp>
    </p:spTree>
    <p:extLst>
      <p:ext uri="{BB962C8B-B14F-4D97-AF65-F5344CB8AC3E}">
        <p14:creationId xmlns:p14="http://schemas.microsoft.com/office/powerpoint/2010/main" val="3858132683"/>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1</a:t>
            </a:fld>
            <a:endParaRPr lang="en-US"/>
          </a:p>
        </p:txBody>
      </p:sp>
    </p:spTree>
    <p:extLst>
      <p:ext uri="{BB962C8B-B14F-4D97-AF65-F5344CB8AC3E}">
        <p14:creationId xmlns:p14="http://schemas.microsoft.com/office/powerpoint/2010/main" val="2683151413"/>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2</a:t>
            </a:fld>
            <a:endParaRPr lang="en-US"/>
          </a:p>
        </p:txBody>
      </p:sp>
    </p:spTree>
    <p:extLst>
      <p:ext uri="{BB962C8B-B14F-4D97-AF65-F5344CB8AC3E}">
        <p14:creationId xmlns:p14="http://schemas.microsoft.com/office/powerpoint/2010/main" val="2937978547"/>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3</a:t>
            </a:fld>
            <a:endParaRPr lang="en-US"/>
          </a:p>
        </p:txBody>
      </p:sp>
    </p:spTree>
    <p:extLst>
      <p:ext uri="{BB962C8B-B14F-4D97-AF65-F5344CB8AC3E}">
        <p14:creationId xmlns:p14="http://schemas.microsoft.com/office/powerpoint/2010/main" val="1928169889"/>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4</a:t>
            </a:fld>
            <a:endParaRPr lang="en-US"/>
          </a:p>
        </p:txBody>
      </p:sp>
    </p:spTree>
    <p:extLst>
      <p:ext uri="{BB962C8B-B14F-4D97-AF65-F5344CB8AC3E}">
        <p14:creationId xmlns:p14="http://schemas.microsoft.com/office/powerpoint/2010/main" val="873958575"/>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5</a:t>
            </a:fld>
            <a:endParaRPr lang="en-US"/>
          </a:p>
        </p:txBody>
      </p:sp>
    </p:spTree>
    <p:extLst>
      <p:ext uri="{BB962C8B-B14F-4D97-AF65-F5344CB8AC3E}">
        <p14:creationId xmlns:p14="http://schemas.microsoft.com/office/powerpoint/2010/main" val="350585666"/>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6</a:t>
            </a:fld>
            <a:endParaRPr lang="en-US"/>
          </a:p>
        </p:txBody>
      </p:sp>
    </p:spTree>
    <p:extLst>
      <p:ext uri="{BB962C8B-B14F-4D97-AF65-F5344CB8AC3E}">
        <p14:creationId xmlns:p14="http://schemas.microsoft.com/office/powerpoint/2010/main" val="2872728128"/>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7</a:t>
            </a:fld>
            <a:endParaRPr lang="en-US"/>
          </a:p>
        </p:txBody>
      </p:sp>
    </p:spTree>
    <p:extLst>
      <p:ext uri="{BB962C8B-B14F-4D97-AF65-F5344CB8AC3E}">
        <p14:creationId xmlns:p14="http://schemas.microsoft.com/office/powerpoint/2010/main" val="2443202244"/>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8</a:t>
            </a:fld>
            <a:endParaRPr lang="en-US"/>
          </a:p>
        </p:txBody>
      </p:sp>
    </p:spTree>
    <p:extLst>
      <p:ext uri="{BB962C8B-B14F-4D97-AF65-F5344CB8AC3E}">
        <p14:creationId xmlns:p14="http://schemas.microsoft.com/office/powerpoint/2010/main" val="1077982378"/>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9</a:t>
            </a:fld>
            <a:endParaRPr lang="en-US"/>
          </a:p>
        </p:txBody>
      </p:sp>
    </p:spTree>
    <p:extLst>
      <p:ext uri="{BB962C8B-B14F-4D97-AF65-F5344CB8AC3E}">
        <p14:creationId xmlns:p14="http://schemas.microsoft.com/office/powerpoint/2010/main" val="11618155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156071755"/>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0</a:t>
            </a:fld>
            <a:endParaRPr lang="en-US"/>
          </a:p>
        </p:txBody>
      </p:sp>
    </p:spTree>
    <p:extLst>
      <p:ext uri="{BB962C8B-B14F-4D97-AF65-F5344CB8AC3E}">
        <p14:creationId xmlns:p14="http://schemas.microsoft.com/office/powerpoint/2010/main" val="1954248045"/>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1</a:t>
            </a:fld>
            <a:endParaRPr lang="en-US"/>
          </a:p>
        </p:txBody>
      </p:sp>
    </p:spTree>
    <p:extLst>
      <p:ext uri="{BB962C8B-B14F-4D97-AF65-F5344CB8AC3E}">
        <p14:creationId xmlns:p14="http://schemas.microsoft.com/office/powerpoint/2010/main" val="317089709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2</a:t>
            </a:fld>
            <a:endParaRPr lang="en-US"/>
          </a:p>
        </p:txBody>
      </p:sp>
    </p:spTree>
    <p:extLst>
      <p:ext uri="{BB962C8B-B14F-4D97-AF65-F5344CB8AC3E}">
        <p14:creationId xmlns:p14="http://schemas.microsoft.com/office/powerpoint/2010/main" val="1257502096"/>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3</a:t>
            </a:fld>
            <a:endParaRPr lang="en-US"/>
          </a:p>
        </p:txBody>
      </p:sp>
    </p:spTree>
    <p:extLst>
      <p:ext uri="{BB962C8B-B14F-4D97-AF65-F5344CB8AC3E}">
        <p14:creationId xmlns:p14="http://schemas.microsoft.com/office/powerpoint/2010/main" val="71608772"/>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4</a:t>
            </a:fld>
            <a:endParaRPr lang="en-US"/>
          </a:p>
        </p:txBody>
      </p:sp>
    </p:spTree>
    <p:extLst>
      <p:ext uri="{BB962C8B-B14F-4D97-AF65-F5344CB8AC3E}">
        <p14:creationId xmlns:p14="http://schemas.microsoft.com/office/powerpoint/2010/main" val="1875193062"/>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5</a:t>
            </a:fld>
            <a:endParaRPr lang="en-US"/>
          </a:p>
        </p:txBody>
      </p:sp>
    </p:spTree>
    <p:extLst>
      <p:ext uri="{BB962C8B-B14F-4D97-AF65-F5344CB8AC3E}">
        <p14:creationId xmlns:p14="http://schemas.microsoft.com/office/powerpoint/2010/main" val="2260026339"/>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6</a:t>
            </a:fld>
            <a:endParaRPr lang="en-US"/>
          </a:p>
        </p:txBody>
      </p:sp>
    </p:spTree>
    <p:extLst>
      <p:ext uri="{BB962C8B-B14F-4D97-AF65-F5344CB8AC3E}">
        <p14:creationId xmlns:p14="http://schemas.microsoft.com/office/powerpoint/2010/main" val="1672113966"/>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7</a:t>
            </a:fld>
            <a:endParaRPr lang="en-US"/>
          </a:p>
        </p:txBody>
      </p:sp>
    </p:spTree>
    <p:extLst>
      <p:ext uri="{BB962C8B-B14F-4D97-AF65-F5344CB8AC3E}">
        <p14:creationId xmlns:p14="http://schemas.microsoft.com/office/powerpoint/2010/main" val="2815477987"/>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8</a:t>
            </a:fld>
            <a:endParaRPr lang="en-US"/>
          </a:p>
        </p:txBody>
      </p:sp>
    </p:spTree>
    <p:extLst>
      <p:ext uri="{BB962C8B-B14F-4D97-AF65-F5344CB8AC3E}">
        <p14:creationId xmlns:p14="http://schemas.microsoft.com/office/powerpoint/2010/main" val="1509183856"/>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9</a:t>
            </a:fld>
            <a:endParaRPr lang="en-US"/>
          </a:p>
        </p:txBody>
      </p:sp>
    </p:spTree>
    <p:extLst>
      <p:ext uri="{BB962C8B-B14F-4D97-AF65-F5344CB8AC3E}">
        <p14:creationId xmlns:p14="http://schemas.microsoft.com/office/powerpoint/2010/main" val="11730317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1626360441"/>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0</a:t>
            </a:fld>
            <a:endParaRPr lang="en-US"/>
          </a:p>
        </p:txBody>
      </p:sp>
    </p:spTree>
    <p:extLst>
      <p:ext uri="{BB962C8B-B14F-4D97-AF65-F5344CB8AC3E}">
        <p14:creationId xmlns:p14="http://schemas.microsoft.com/office/powerpoint/2010/main" val="7189309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22064329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42134599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20049548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226157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1067410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4500455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8346490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1000726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1300115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38459874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36271327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10514718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9406034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6972148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206819885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1205913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8541595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144346972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14795690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5944560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443422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4250836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1117357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9905760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24478101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6</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13032717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0924162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18304785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6</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8665819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5</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28441282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6</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17896158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250547767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22284902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22804729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33940040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34359446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195782280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22027310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12066720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4480913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259624245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213853915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154776836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3820966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13278225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40763508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635773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118443887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9947496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212554489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403088117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84677881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32396076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114441831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9821038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1535592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288378159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126282709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07013622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58050971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40458036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387771132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271582949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288373901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25611111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117978511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26611620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2</TotalTime>
  <Words>27274</Words>
  <Application>Microsoft Office PowerPoint</Application>
  <PresentationFormat>On-screen Show (16:9)</PresentationFormat>
  <Paragraphs>7126</Paragraphs>
  <Slides>380</Slides>
  <Notes>6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80</vt:i4>
      </vt:variant>
    </vt:vector>
  </HeadingPairs>
  <TitlesOfParts>
    <vt:vector size="39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Aleaa SALAH</cp:lastModifiedBy>
  <cp:revision>19</cp:revision>
  <dcterms:created xsi:type="dcterms:W3CDTF">2024-07-05T14:32:36Z</dcterms:created>
  <dcterms:modified xsi:type="dcterms:W3CDTF">2025-07-09T14:3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